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7.xml" ContentType="application/vnd.openxmlformats-officedocument.presentationml.tags+xml"/>
  <Override PartName="/ppt/notesSlides/notesSlide1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7" r:id="rId1"/>
  </p:sldMasterIdLst>
  <p:notesMasterIdLst>
    <p:notesMasterId r:id="rId40"/>
  </p:notesMasterIdLst>
  <p:handoutMasterIdLst>
    <p:handoutMasterId r:id="rId41"/>
  </p:handoutMasterIdLst>
  <p:sldIdLst>
    <p:sldId id="274" r:id="rId2"/>
    <p:sldId id="348" r:id="rId3"/>
    <p:sldId id="471" r:id="rId4"/>
    <p:sldId id="472" r:id="rId5"/>
    <p:sldId id="473" r:id="rId6"/>
    <p:sldId id="474" r:id="rId7"/>
    <p:sldId id="475" r:id="rId8"/>
    <p:sldId id="476" r:id="rId9"/>
    <p:sldId id="477" r:id="rId10"/>
    <p:sldId id="478" r:id="rId11"/>
    <p:sldId id="479" r:id="rId12"/>
    <p:sldId id="481" r:id="rId13"/>
    <p:sldId id="480" r:id="rId14"/>
    <p:sldId id="482" r:id="rId15"/>
    <p:sldId id="483" r:id="rId16"/>
    <p:sldId id="484" r:id="rId17"/>
    <p:sldId id="485" r:id="rId18"/>
    <p:sldId id="486" r:id="rId19"/>
    <p:sldId id="487" r:id="rId20"/>
    <p:sldId id="488" r:id="rId21"/>
    <p:sldId id="489" r:id="rId22"/>
    <p:sldId id="490" r:id="rId23"/>
    <p:sldId id="457" r:id="rId24"/>
    <p:sldId id="469" r:id="rId25"/>
    <p:sldId id="468" r:id="rId26"/>
    <p:sldId id="456" r:id="rId27"/>
    <p:sldId id="467" r:id="rId28"/>
    <p:sldId id="440" r:id="rId29"/>
    <p:sldId id="463" r:id="rId30"/>
    <p:sldId id="465" r:id="rId31"/>
    <p:sldId id="464" r:id="rId32"/>
    <p:sldId id="466" r:id="rId33"/>
    <p:sldId id="470" r:id="rId34"/>
    <p:sldId id="381" r:id="rId35"/>
    <p:sldId id="383" r:id="rId36"/>
    <p:sldId id="388" r:id="rId37"/>
    <p:sldId id="385" r:id="rId38"/>
    <p:sldId id="435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Kullanıcısı" initials="Office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29BA74"/>
    <a:srgbClr val="202020"/>
    <a:srgbClr val="9A9A9A"/>
    <a:srgbClr val="FDE7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81" autoAdjust="0"/>
    <p:restoredTop sz="95900" autoAdjust="0"/>
  </p:normalViewPr>
  <p:slideViewPr>
    <p:cSldViewPr snapToGrid="0">
      <p:cViewPr varScale="1">
        <p:scale>
          <a:sx n="79" d="100"/>
          <a:sy n="79" d="100"/>
        </p:scale>
        <p:origin x="864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2928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C93E95-BD00-465A-BE68-E2F091397A2A}" type="datetimeFigureOut">
              <a:rPr lang="tr-TR" smtClean="0"/>
              <a:t>15.05.2020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B7A4B1-840C-49AC-8967-1472A21500A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507412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DDD3D9-7869-4595-B657-BC57E473E0E1}" type="datetimeFigureOut">
              <a:rPr lang="tr-TR" smtClean="0"/>
              <a:t>15.05.2020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F8B3E6-5D55-4D28-910E-B48E063D980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412782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497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 smtClean="0"/>
              <a:t>Burada </a:t>
            </a:r>
            <a:r>
              <a:rPr lang="tr-TR" dirty="0" err="1" smtClean="0"/>
              <a:t>why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</a:t>
            </a:r>
            <a:r>
              <a:rPr lang="tr-TR" dirty="0" err="1" smtClean="0"/>
              <a:t>learning</a:t>
            </a:r>
            <a:r>
              <a:rPr lang="tr-TR" baseline="0" dirty="0" smtClean="0"/>
              <a:t> ve </a:t>
            </a:r>
            <a:r>
              <a:rPr lang="tr-TR" baseline="0" dirty="0" err="1" smtClean="0"/>
              <a:t>why</a:t>
            </a:r>
            <a:r>
              <a:rPr lang="tr-TR" baseline="0" dirty="0" smtClean="0"/>
              <a:t> </a:t>
            </a:r>
            <a:r>
              <a:rPr lang="tr-TR" baseline="0" dirty="0" err="1" smtClean="0"/>
              <a:t>now</a:t>
            </a:r>
            <a:r>
              <a:rPr lang="tr-TR" baseline="0" dirty="0" smtClean="0"/>
              <a:t> konularına değinilebilir. Hardware, </a:t>
            </a:r>
            <a:r>
              <a:rPr lang="tr-TR" baseline="0" dirty="0" err="1" smtClean="0"/>
              <a:t>datasetlerin</a:t>
            </a:r>
            <a:r>
              <a:rPr lang="tr-TR" baseline="0" dirty="0" smtClean="0"/>
              <a:t> artması, açık kaynak kodlarının artması, kütüphanelerin geliştirilmesi anlatılabilir.</a:t>
            </a:r>
          </a:p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8B3E6-5D55-4D28-910E-B48E063D980E}" type="slidenum">
              <a:rPr lang="tr-TR" smtClean="0"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82302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769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2263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8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0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2.xml"/><Relationship Id="rId7" Type="http://schemas.openxmlformats.org/officeDocument/2006/relationships/image" Target="../media/image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image" Target="../media/image9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8.xml"/><Relationship Id="rId7" Type="http://schemas.openxmlformats.org/officeDocument/2006/relationships/image" Target="../media/image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0.xml"/><Relationship Id="rId7" Type="http://schemas.openxmlformats.org/officeDocument/2006/relationships/image" Target="../media/image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1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7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1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1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3.jp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3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3.jp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3.jp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7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0.xml"/><Relationship Id="rId7" Type="http://schemas.openxmlformats.org/officeDocument/2006/relationships/image" Target="../media/image4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2.xml"/><Relationship Id="rId7" Type="http://schemas.openxmlformats.org/officeDocument/2006/relationships/image" Target="../media/image4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4.xml"/><Relationship Id="rId7" Type="http://schemas.openxmlformats.org/officeDocument/2006/relationships/image" Target="../media/image4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6.xml"/><Relationship Id="rId7" Type="http://schemas.openxmlformats.org/officeDocument/2006/relationships/image" Target="../media/image4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8.xml"/><Relationship Id="rId7" Type="http://schemas.openxmlformats.org/officeDocument/2006/relationships/image" Target="../media/image4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0.xml"/><Relationship Id="rId7" Type="http://schemas.openxmlformats.org/officeDocument/2006/relationships/image" Target="../media/image4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2.xml"/><Relationship Id="rId7" Type="http://schemas.openxmlformats.org/officeDocument/2006/relationships/image" Target="../media/image4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4.xml"/><Relationship Id="rId7" Type="http://schemas.openxmlformats.org/officeDocument/2006/relationships/image" Target="../media/image9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8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7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8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2.xml"/><Relationship Id="rId7" Type="http://schemas.openxmlformats.org/officeDocument/2006/relationships/image" Target="../media/image9.png"/><Relationship Id="rId2" Type="http://schemas.openxmlformats.org/officeDocument/2006/relationships/tags" Target="../tags/tag9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8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6.xml"/><Relationship Id="rId7" Type="http://schemas.openxmlformats.org/officeDocument/2006/relationships/image" Target="../media/image9.png"/><Relationship Id="rId2" Type="http://schemas.openxmlformats.org/officeDocument/2006/relationships/tags" Target="../tags/tag9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8.png"/><Relationship Id="rId2" Type="http://schemas.openxmlformats.org/officeDocument/2006/relationships/tags" Target="../tags/tag9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1.png"/><Relationship Id="rId2" Type="http://schemas.openxmlformats.org/officeDocument/2006/relationships/tags" Target="../tags/tag9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7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11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7.xml"/><Relationship Id="rId7" Type="http://schemas.openxmlformats.org/officeDocument/2006/relationships/image" Target="../media/image9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11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7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3.jp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11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3.bin"/><Relationship Id="rId4" Type="http://schemas.openxmlformats.org/officeDocument/2006/relationships/image" Target="../media/image3.jp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5.xml"/><Relationship Id="rId7" Type="http://schemas.openxmlformats.org/officeDocument/2006/relationships/image" Target="../media/image4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ED47115-8A45-D74E-B41A-0BE8368D075C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2026658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CEBB84-F931-A34F-8C50-DDBD757A837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2064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1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5081AB6-F409-3342-8389-8FCD338FF02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087DFE1-9491-A34E-AB0D-3958045DECC6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F64207-B5E9-3446-A9D5-CE27D14C8B6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3FBF419B-3BB5-894F-8A1E-1881E3A72F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6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1">
                <a:lumMod val="50000"/>
              </a:schemeClr>
            </a:gs>
            <a:gs pos="99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8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A3A9C94-220D-B04B-A80C-B3A4A724831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CE65866-A238-F447-8DDC-64A9F5E001C8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1BB9655-E3C1-8940-8819-92D6C16695A7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186C4BE-FDAF-1143-8E92-B189F986D67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57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9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D274AA-1A73-E241-A995-05B982A5ACA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FF39704-7C58-8D45-817F-76274EF6C003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97428DC-D10B-5E48-8095-7A6DB551D745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ED7542F-FDF8-4B45-A29F-9CDE3DC8F85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8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9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D63CF6C-72E9-1246-B3F4-4A43BB50239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C165D6-CA53-9B46-9A3C-28D1B4D33EB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895A486-3BED-864E-BA82-7942988A5D4F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794FF575-FF2F-3A41-906B-02649609D40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45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9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29E8720-3B40-D443-85A3-68F8F58900C4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67708D6-6D83-4048-8386-99EFFEA2E3F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CE1DD50-9E49-EB4B-8B28-9EB01F1D61A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A32E3DA-F79A-054C-A0D8-B3D64BD3994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80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E6D373C-B5E5-DD47-805A-76B7281CFE8E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21142A8-187E-8F4A-A85F-F398510A7F40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ADBB815-AE5A-154B-8BD6-DFED47B4C9BE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4C29C8F9-7319-A642-ACA7-464A4F2C3AD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7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0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1A57BF3-76F8-DD40-AA1D-63BD75C148A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44E397A-EAB1-E947-8EC4-F3FE84CAF35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C498D05-D252-9C4E-85D4-2602BE05473D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59703DBC-88D8-9648-94B3-7B92583C414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49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3D89E1-9412-3043-9845-70418DA26E0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CF36AAC-C779-DC40-BA99-7F13EDAEC16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9B2F9E0-A5DE-B248-9FE5-F69333813574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BD298937-3696-B844-86A6-9D7633F9C65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8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37373A"/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65555F2-D6BC-0445-9F05-9EADA43B412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C90536A-73F9-6642-8EE7-091E36C72EF4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15B854-3FFD-ED47-A8CE-F29765C10BBF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1BAFD12E-9FF4-A44E-B8AE-12B87A6221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58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4AE077-2547-D94C-B2D8-61D84DDAFE3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83B193-D899-2449-9838-907D589770C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D0EB98-A157-6541-9E6C-411A79BF95F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B4B7829-7A12-DA4F-AE14-5B35350E6D6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75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43B8DEF-A8A8-BE4F-9F2C-05964C01214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6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2019952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/>
        </p:nvSpPr>
        <p:spPr bwMode="black">
          <a:xfrm>
            <a:off x="628650" y="631488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5AA8B7-76BA-AB4E-984C-D91BFAD3F78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3142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61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>
          <a:gsLst>
            <a:gs pos="0">
              <a:schemeClr val="accent2"/>
            </a:gs>
            <a:gs pos="10000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4AE077-2547-D94C-B2D8-61D84DDAFE3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83B193-D899-2449-9838-907D589770C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D0EB98-A157-6541-9E6C-411A79BF95F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B4B7829-7A12-DA4F-AE14-5B35350E6D6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46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rrow two third">
    <p:bg>
      <p:bgPr>
        <a:gradFill>
          <a:gsLst>
            <a:gs pos="0">
              <a:schemeClr val="accent2"/>
            </a:gs>
            <a:gs pos="100000">
              <a:schemeClr val="tx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4AE077-2547-D94C-B2D8-61D84DDAFE3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583B193-D899-2449-9838-907D589770C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1D0EB98-A157-6541-9E6C-411A79BF95F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B4B7829-7A12-DA4F-AE14-5B35350E6D6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08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787D9D-0165-C040-A7D1-326D8D17ABE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359595-BF0C-A34D-BE45-FEE11624C73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81CF07B-09C2-BF41-B575-1122F47A665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4798ECB2-D601-F648-8F1E-0773EF58C77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874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1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751B382-F412-3D4C-80E6-83C4C4DCC74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0F48926-1E99-3546-8DD8-CC95A6DC754A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5804184-8DE0-3146-8DCB-C54D0350B6B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ACA55B1-CC12-E547-B8C5-CCC0AEBFE9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33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1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D827788-57F3-B942-B9DA-00928751F1A4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C9E6CA5-8D88-BB4A-A971-3993BCA6EF3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0169A0B-C9C0-CD43-A44B-DE5510649ED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2262C6D-5BE8-5945-ACD9-BFBECA2B831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13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514B42C-315F-DD48-8FA6-9746A49363A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EE1D0A8-C98F-624A-9790-3CFCE14FD359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ABBE4B-A2B7-1140-BC31-6250B9AF8F05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6FDDAB7-3692-C245-975A-C9C81FF6F2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88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59A062D-6981-EC48-A079-E0736D6737E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AE13B33-567B-3248-AAB8-FF70D1E47F89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1C74051-4F4E-EB43-B452-07977F64A59A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52A6F0A3-FF8E-C845-A770-ACEABDDBEA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8BC19AC-D3EC-DB49-A81F-17127B23EC2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64B6B4B-AF69-CD4F-AD17-03DD279D259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3A27C50-610F-AB40-AC2F-17E63BA3D43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B8C6D353-57F5-3144-9077-A624E747A23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67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04BFEA5-5465-8B43-A4AC-DB7243AD3808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E7C7FB0-5B2D-B44D-97E8-66338B5E2EA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1C883B3-F638-6B47-8476-D882E029C947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C687DDA5-89C4-2141-B19E-9C704988A5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92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6CCF8F7-DDFD-C440-917B-D6FEDF8169D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A87440-C4CC-E54F-ADEB-3F43836CBAA7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96FDA61-6B85-894F-8949-DC3B74C8992E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8F7042BB-468A-804B-BB46-031D0F50C6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24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6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EA85825-8037-4F46-90A8-A777A4E16A87}"/>
              </a:ext>
            </a:extLst>
          </p:cNvPr>
          <p:cNvSpPr/>
          <p:nvPr userDrawn="1"/>
        </p:nvSpPr>
        <p:spPr>
          <a:xfrm>
            <a:off x="11711940" y="6475104"/>
            <a:ext cx="167640" cy="16764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0717F-FF64-F54C-B8B7-1688BA9A2B4C}"/>
              </a:ext>
            </a:extLst>
          </p:cNvPr>
          <p:cNvSpPr/>
          <p:nvPr userDrawn="1"/>
        </p:nvSpPr>
        <p:spPr>
          <a:xfrm>
            <a:off x="11879580" y="6642744"/>
            <a:ext cx="312420" cy="22098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70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C40038E-1B48-B440-8BAD-9BEFCD632C06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957CAF2-22D1-F044-85DB-8087CDA6AB0E}"/>
              </a:ext>
            </a:extLst>
          </p:cNvPr>
          <p:cNvSpPr/>
          <p:nvPr userDrawn="1"/>
        </p:nvSpPr>
        <p:spPr bwMode="black">
          <a:xfrm>
            <a:off x="630936" y="626200"/>
            <a:ext cx="5608231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A341B33-F660-4F4A-B55E-B8924A92B34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71607" y="2712297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19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488EE7-EEAB-5545-8E3F-6CD980EEC6D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3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black">
          <a:xfrm>
            <a:off x="626289" y="626321"/>
            <a:ext cx="5610517" cy="5532504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008976-BB8F-1946-9F60-C9715CD6138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9246" y="2710034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86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284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D72427D-40BE-2340-85B8-9A4D8F5E6FD6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4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2" y="2026364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1906E2-8F68-4748-9526-728CFA504666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22A1004-2639-0A42-90D7-4A4E18057B1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2064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3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1_Title Slide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FA379CA-29F3-EF4E-AEAC-9A3E1FC78A01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63565" y="2026988"/>
            <a:ext cx="580573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black">
          <a:xfrm>
            <a:off x="628650" y="631488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Trebuchet MS" panose="020B0603020202020204" pitchFamily="34" charset="0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Trebuchet MS" panose="020B0603020202020204" pitchFamily="34" charset="0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A3FE33-85B9-6C44-A39D-8B9CCCB9A5C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08" y="783142"/>
            <a:ext cx="2750820" cy="95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5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92293" y="867897"/>
            <a:ext cx="10933350" cy="332399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9BB9FB3-FFBA-5D4D-8EB3-103550791BB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B9B26E-1DC8-4246-A1F9-34F47D8FC6E3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BCD807C-1FF2-E54C-9992-BAE0D7BB6C2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DE99C096-E61D-0C49-BC10-B97137BFCF0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5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00000"/>
                </a:solidFill>
                <a:latin typeface="+mn-lt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50242E-6074-1341-8B4C-E0578ADB2C8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63892E3-789B-1542-AC64-0BC6719CBBA8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75B3FA-9215-E64B-B765-0E293518AF36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9A86F09-3D13-1E41-B0CE-A3F1A06A572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35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0912E0-B7FE-6446-9631-F292A89E13A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5BB3111-7BA9-9B4C-8381-B2300DBAFE9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CC57CA-E6A3-1349-A231-33CD390E0BB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FCF7ECF6-BFD5-0044-BE35-7597C6CA064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70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76C7159E-E9D2-3F40-9A28-700894575D91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720666A-F072-574F-9D18-3F94BAE124F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C0B4D96-0383-7C48-A886-70E108526D91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F1A2D9A9-68BF-7940-92E0-16FD4242B3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5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F11F672-B487-AF47-A79D-69675EDE6FD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CEB763B-FAA7-6D43-8C30-ADF2417113A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055FF3A-7E4E-3D4A-9D9F-10E1F8AE01AA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964EF369-9D76-E846-86E7-6538477F15B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00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0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D1E9942-C408-394A-9987-E3DCF2419B3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97D6C98-B1C3-F840-9240-B26D831233C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4821F09-7A5D-5344-BCBE-EB4FE86D9B69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4F4FC6E0-00E6-5343-8097-41B355B70C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4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5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D88C0EC-38A3-2A41-985A-9D68BA57704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F720F9-2E49-6E44-B146-58A784FE143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DB0D7DE-DB64-8A46-B7ED-95A07B3F0DCB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D94C9A6-4F5B-8540-ABEF-2949EB8645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91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93649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D88C0EC-38A3-2A41-985A-9D68BA57704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F720F9-2E49-6E44-B146-58A784FE143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DB0D7DE-DB64-8A46-B7ED-95A07B3F0DCB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7D94C9A6-4F5B-8540-ABEF-2949EB8645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32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chemeClr val="tx2"/>
            </a:gs>
            <a:gs pos="97000">
              <a:schemeClr val="accent1">
                <a:lumMod val="89000"/>
              </a:schemeClr>
            </a:gs>
            <a:gs pos="97000">
              <a:schemeClr val="accent1">
                <a:lumMod val="75000"/>
              </a:schemeClr>
            </a:gs>
            <a:gs pos="92000">
              <a:schemeClr val="accent2"/>
            </a:gs>
            <a:gs pos="97000">
              <a:schemeClr val="accent2"/>
            </a:gs>
            <a:gs pos="97000">
              <a:schemeClr val="accent2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6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43E7F5-D136-9A40-BA80-24D144343CF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4805E47-D6BD-7347-A1DC-967F1C57427C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61429E8-3F89-124B-B15B-8E79C01F4CD9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41CB029-FBC1-1A43-9B13-F4B459FAF65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891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6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425A046-D48E-8C47-A1A1-F3A864D0B95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B8F24D6-0077-7A46-8904-226B0B15713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82CA09A-4B0B-754E-843C-A54F4B89CD8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8813D05-7948-0847-94A3-5D3901608C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72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6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39ADEC2-DCF1-AB47-8480-BA059EB6E15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434350A-E1C9-BE4A-82DF-A11F0118C2F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0DCC15F-0A63-8A46-9113-DAE76E03CA17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C36D96CC-46B5-BD4E-98F3-F6D879B9AB2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6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6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55037A4-45C1-A848-976E-38F5DE4598DA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B3462B6-24C6-5045-AA45-9D3D4C028A34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8F2DE7A-DD62-FF42-AC32-D62C1122148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E4F2081C-E7CB-8A46-BC24-72F016F231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30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7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A045F31-8504-A245-8764-742E955CB85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23A4645-96D3-EA45-A502-757DF8D85D8B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C0F19DB-72E7-734C-9DE7-C5AE65C5F36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9260F525-CCEA-A14D-A50C-BE1588F5D45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60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7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E56D87C-252F-B54A-BF79-F64799FE11BF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0949A1A-097D-154B-BB4E-155387424B00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51E32F2-FEFA-2D4D-A56D-8B117D6DE491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7486D68-BE3B-E24A-891F-CC0F5502C4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29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F066716-427C-BD4D-A065-B33697009F4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65AB698-8239-2648-AB6D-5BCC9EC3B103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E1A3DE4-2E74-0B42-911D-6E5D9E52D00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F38B505B-2474-DF44-B5E6-F53BC244351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25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7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E644ED7-8410-E747-8C41-C98ADDB6E12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741DD0D-4BD5-6B4A-8121-C488F29229D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B15C4D5-06CF-F848-9A27-046619AEAA4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6D77004E-2F6F-6240-A9FA-69E075EC99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74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000000"/>
            </a:gs>
            <a:gs pos="99000">
              <a:schemeClr val="tx1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07E3D0-5EDB-2441-8741-4090D8FAAE63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B6F28C9-D765-804F-A344-EAEB38F7EA3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4BC2DFF-DC2B-EC46-A597-946DB4D9B45E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97C450D-4F09-A143-9404-D938988ABDE0}"/>
              </a:ext>
            </a:extLst>
          </p:cNvPr>
          <p:cNvSpPr txBox="1"/>
          <p:nvPr userDrawn="1"/>
        </p:nvSpPr>
        <p:spPr>
          <a:xfrm>
            <a:off x="2423160" y="632460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>
              <a:solidFill>
                <a:srgbClr val="575757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EFF363C-579B-A247-ACDF-83816F5108C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32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A5E103C-6809-9C4D-AE00-39673D3DBB31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82DF88E-C8C7-5F40-B350-EF52B49CE86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3E892D9-399A-984B-A3C0-E9674F78B27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454B1860-F4FD-AD4A-A612-2D693D2E758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57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8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F573E-D764-A74F-90CD-21569074B857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3661E95-6B31-FE40-9ECE-0575813702D1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BDD329D-8FCA-9E44-B9AD-3E29F0108CB4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C4C4FEF-850A-5443-BE72-2648D3C1B60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42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1">
                <a:lumMod val="50000"/>
              </a:schemeClr>
            </a:gs>
            <a:gs pos="99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7C79D4D-67EB-D446-A2EE-3FEACB5403E2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8D1C044-BAF3-6F41-8EB8-CD454E1B7922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B02355F-2FE0-E344-9329-498186AB6F36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36B63CB2-77BD-764B-AB0B-50C0D80738F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53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8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1">
                  <a:lumMod val="50000"/>
                </a:schemeClr>
              </a:gs>
              <a:gs pos="100000">
                <a:srgbClr val="000000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63549D2-C27A-A14E-B7BF-EDF778C4776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82A182D-77E0-EB44-AD1D-C5E576BC62B6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A223DB-6E3C-7945-A3EC-DD955468BFFF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247281D4-9210-684F-8C40-7FDAAD41CB4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0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8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E3C141-DCC7-9E47-9E6C-525DEA723C9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F339D98-9AFA-6741-85E0-C4AAC3505CEA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FEF6146-5395-4D43-9A8D-28EFB1854EB9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BE9E6064-1592-D141-8E9C-535674293B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54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B6DA0B0-6E38-E64D-A201-C2157658712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ADF7442-2A7A-FA41-9A43-BF2C0A1572D7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67850A-A515-5F49-A9C7-5014CA2B825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EB4D87F8-4081-6C45-81A3-B4D6294CD04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298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5AADB75-33F3-7947-97EC-1578DB833BAB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F20A34E-4609-AA4D-ACAD-5F7843FD09D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766E59E-6902-1B45-9CB6-D0E5D8754DD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5F843878-DBA6-6B43-BB43-60F31BAF16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44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0E87619-3DC5-CF4C-972F-7E7C2CD7BF16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AC8C7FF-10F3-AA4A-849F-1C546B31099A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4A21A0-1EF0-1446-BA5E-EBA9CAA820C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2C5BC8EF-9E5A-0C4E-9355-BE48F451A7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37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E816BBE-FCA7-3045-8639-1367EFC07AC9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B6AD88-3723-194E-91C5-A108F7C88C8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08C9654-4E6B-CF45-8463-F9C5521E1F04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0FB67470-4568-1941-B41A-C340CDF9CA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18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BFBB88B-25C5-4844-B342-E637F25ED44D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C15488-4EB3-724D-8C64-760E191C153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7D0E515-2BD2-904F-AA67-FFF0E09DAD08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DEC99846-C929-F247-8C7E-271EA49322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2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000000"/>
            </a:gs>
            <a:gs pos="100000">
              <a:schemeClr val="tx1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75F31737-4D53-5F4A-8213-D4F634B81948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3866326-E80E-3640-9556-27DD540B19E7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0B3F2BE-6306-D040-80A9-6B5BC44BA192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0EF0252-4892-094D-8640-A331121646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7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6255A7-944D-8F48-9587-6859C082D9B3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9C256EC-A13A-4544-A96A-D764D6475B1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D41EDD-454C-284E-B9F6-21EAA9E4308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4E143EE8-BBED-B240-AE53-A95956271F5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0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F702C9D-AF75-2043-8D7B-4ECFD9E6A67E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106EFDD-3424-6847-9EFB-E116686E4327}"/>
              </a:ext>
            </a:extLst>
          </p:cNvPr>
          <p:cNvSpPr/>
          <p:nvPr userDrawn="1"/>
        </p:nvSpPr>
        <p:spPr bwMode="black">
          <a:xfrm>
            <a:off x="630936" y="626200"/>
            <a:ext cx="5608231" cy="5529600"/>
          </a:xfrm>
          <a:prstGeom prst="rect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99000">
                <a:srgbClr val="00000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FFFBCAC0-E3A1-F84F-9DE2-83002BD7609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71607" y="2712297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0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1_End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310362A-CD38-954E-BED4-3228F8D50B18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0"/>
            <a:ext cx="12191208" cy="685646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black">
          <a:xfrm>
            <a:off x="626289" y="626321"/>
            <a:ext cx="5610517" cy="5532504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CA8872-F22B-3047-B7D9-FDEF2451CD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469246" y="2710034"/>
            <a:ext cx="3924603" cy="13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89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1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E2D2868-CDAB-DB49-9A07-7E48937B8736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EA7685F-4082-BC42-BF23-4D5FE68C0A6D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AD2255-D5AE-7E4C-B295-7B0D614F9843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5DEF8091-C685-8343-94CD-B7C06AA0F0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25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DD7AF83-FF26-704F-99AD-1D6EAD8F9820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356667E-211E-F646-9D8E-49BC6D8FCDAF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978657C-5785-8D4E-8BC0-12AC3C9965D5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0DF29412-9C20-044D-862A-61E24C19F7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30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000000"/>
            </a:gs>
            <a:gs pos="100000">
              <a:schemeClr val="tx1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2C44949-03CA-EC46-ABB6-BD05AB4CD44C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8BE2498-30CA-DD46-BC1B-8BAAF01C24D5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AE5EB5A-7B5F-E341-AC8D-DC4C195DD7AC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901A266-464E-1848-8A37-067C95A1F1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906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000000"/>
            </a:gs>
            <a:gs pos="99000">
              <a:srgbClr val="3737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0000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9ACF2B-A794-1346-9A13-6E63CB83300F}"/>
              </a:ext>
            </a:extLst>
          </p:cNvPr>
          <p:cNvSpPr txBox="1"/>
          <p:nvPr userDrawn="1"/>
        </p:nvSpPr>
        <p:spPr>
          <a:xfrm>
            <a:off x="8602980" y="3368040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>
              <a:solidFill>
                <a:srgbClr val="575757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90A1143-306C-E841-A86A-4CFA6C80E468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bg1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0058FB1-5B75-4547-B6C7-8B12A1EB9ADE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B6856D1-9C6E-EA4C-889F-5B3F7C619FD1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26FBA987-4453-0943-AA30-F6859EAE440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51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1">
                <a:lumMod val="50000"/>
              </a:schemeClr>
            </a:gs>
            <a:gs pos="100000">
              <a:srgbClr val="000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8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Webinar Sunum Taslak v1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5081AB6-F409-3342-8389-8FCD338FF025}"/>
              </a:ext>
            </a:extLst>
          </p:cNvPr>
          <p:cNvGrpSpPr/>
          <p:nvPr userDrawn="1"/>
        </p:nvGrpSpPr>
        <p:grpSpPr>
          <a:xfrm>
            <a:off x="11711940" y="6475104"/>
            <a:ext cx="480060" cy="388620"/>
            <a:chOff x="11711940" y="6475104"/>
            <a:chExt cx="480060" cy="388620"/>
          </a:xfrm>
          <a:solidFill>
            <a:schemeClr val="tx2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087DFE1-9491-A34E-AB0D-3958045DECC6}"/>
                </a:ext>
              </a:extLst>
            </p:cNvPr>
            <p:cNvSpPr/>
            <p:nvPr userDrawn="1"/>
          </p:nvSpPr>
          <p:spPr>
            <a:xfrm>
              <a:off x="11711940" y="6475104"/>
              <a:ext cx="167640" cy="16764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F64207-B5E9-3446-A9D5-CE27D14C8B60}"/>
                </a:ext>
              </a:extLst>
            </p:cNvPr>
            <p:cNvSpPr/>
            <p:nvPr userDrawn="1"/>
          </p:nvSpPr>
          <p:spPr>
            <a:xfrm>
              <a:off x="11879580" y="6642744"/>
              <a:ext cx="312420" cy="220980"/>
            </a:xfrm>
            <a:prstGeom prst="rect">
              <a:avLst/>
            </a:prstGeom>
            <a:grp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tr-TR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3FBF419B-3BB5-894F-8A1E-1881E3A72F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7" y="84667"/>
            <a:ext cx="812800" cy="41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93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24" name="think-cell Slide" r:id="rId68" imgW="270" imgH="270" progId="TCLayout.ActiveDocument.1">
                  <p:embed/>
                </p:oleObj>
              </mc:Choice>
              <mc:Fallback>
                <p:oleObj name="think-cell Slide" r:id="rId6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Segoe UI" panose="020B0502040204020203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3" name="MSIPCMContentMarking" descr="{&quot;HashCode&quot;:1175969561,&quot;Placement&quot;:&quot;Footer&quot;}"/>
          <p:cNvSpPr txBox="1"/>
          <p:nvPr userDrawn="1"/>
        </p:nvSpPr>
        <p:spPr>
          <a:xfrm>
            <a:off x="0" y="6578565"/>
            <a:ext cx="2964203" cy="279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100" smtClean="0">
                <a:solidFill>
                  <a:srgbClr val="FF8C00"/>
                </a:solidFill>
                <a:latin typeface="Calibri" panose="020F0502020204030204" pitchFamily="34" charset="0"/>
              </a:rPr>
              <a:t>Gizlilik Sınıflandırması : KoçSistem İçi Paylaşım</a:t>
            </a:r>
            <a:endParaRPr lang="en-US" sz="1100" dirty="0" err="1" smtClean="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061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768" r:id="rId31"/>
    <p:sldLayoutId id="2147483769" r:id="rId32"/>
    <p:sldLayoutId id="2147483770" r:id="rId33"/>
    <p:sldLayoutId id="2147483771" r:id="rId34"/>
    <p:sldLayoutId id="2147483772" r:id="rId35"/>
    <p:sldLayoutId id="2147483773" r:id="rId36"/>
    <p:sldLayoutId id="2147483774" r:id="rId37"/>
    <p:sldLayoutId id="2147483775" r:id="rId38"/>
    <p:sldLayoutId id="2147483776" r:id="rId39"/>
    <p:sldLayoutId id="2147483777" r:id="rId40"/>
    <p:sldLayoutId id="2147483801" r:id="rId41"/>
    <p:sldLayoutId id="2147483778" r:id="rId42"/>
    <p:sldLayoutId id="2147483779" r:id="rId43"/>
    <p:sldLayoutId id="2147483780" r:id="rId44"/>
    <p:sldLayoutId id="2147483781" r:id="rId45"/>
    <p:sldLayoutId id="2147483782" r:id="rId46"/>
    <p:sldLayoutId id="2147483783" r:id="rId47"/>
    <p:sldLayoutId id="2147483784" r:id="rId48"/>
    <p:sldLayoutId id="2147483785" r:id="rId49"/>
    <p:sldLayoutId id="2147483786" r:id="rId50"/>
    <p:sldLayoutId id="2147483787" r:id="rId51"/>
    <p:sldLayoutId id="2147483788" r:id="rId52"/>
    <p:sldLayoutId id="2147483789" r:id="rId53"/>
    <p:sldLayoutId id="2147483790" r:id="rId54"/>
    <p:sldLayoutId id="2147483791" r:id="rId55"/>
    <p:sldLayoutId id="2147483792" r:id="rId56"/>
    <p:sldLayoutId id="2147483793" r:id="rId57"/>
    <p:sldLayoutId id="2147483794" r:id="rId58"/>
    <p:sldLayoutId id="2147483795" r:id="rId59"/>
    <p:sldLayoutId id="2147483796" r:id="rId60"/>
    <p:sldLayoutId id="2147483797" r:id="rId61"/>
    <p:sldLayoutId id="2147483798" r:id="rId62"/>
    <p:sldLayoutId id="2147483799" r:id="rId63"/>
    <p:sldLayoutId id="2147483800" r:id="rId6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Segoe UI" panose="020B0502040204020203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19.xml"/><Relationship Id="rId7" Type="http://schemas.openxmlformats.org/officeDocument/2006/relationships/image" Target="../media/image14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slideLayout" Target="../slideLayouts/slideLayout36.xml"/><Relationship Id="rId4" Type="http://schemas.openxmlformats.org/officeDocument/2006/relationships/tags" Target="../tags/tag1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gif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gif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gi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tags" Target="../tags/tag126.xml"/><Relationship Id="rId7" Type="http://schemas.openxmlformats.org/officeDocument/2006/relationships/image" Target="../media/image52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51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6.gi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4.png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22.xml"/><Relationship Id="rId7" Type="http://schemas.openxmlformats.org/officeDocument/2006/relationships/image" Target="../media/image14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slideLayout" Target="../slideLayouts/slideLayout36.xml"/><Relationship Id="rId4" Type="http://schemas.openxmlformats.org/officeDocument/2006/relationships/tags" Target="../tags/tag123.xml"/><Relationship Id="rId9" Type="http://schemas.openxmlformats.org/officeDocument/2006/relationships/hyperlink" Target="https://github.com/acarerdinc/acik_kaynak_platformu" TargetMode="Externa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3.png"/><Relationship Id="rId7" Type="http://schemas.openxmlformats.org/officeDocument/2006/relationships/image" Target="../media/image68.jp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7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70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7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gif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7.jpeg"/><Relationship Id="rId5" Type="http://schemas.openxmlformats.org/officeDocument/2006/relationships/image" Target="../media/image55.jpe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tr-TR" dirty="0"/>
              <a:t>15</a:t>
            </a:r>
            <a:r>
              <a:rPr lang="en-US" dirty="0"/>
              <a:t> </a:t>
            </a:r>
            <a:r>
              <a:rPr lang="tr-TR" dirty="0"/>
              <a:t>MAY</a:t>
            </a:r>
            <a:r>
              <a:rPr lang="en-US" dirty="0"/>
              <a:t>2020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tr-TR" dirty="0" err="1"/>
              <a:t>KoçDigital</a:t>
            </a:r>
            <a:r>
              <a:rPr lang="tr-TR" dirty="0"/>
              <a:t> CV </a:t>
            </a:r>
            <a:r>
              <a:rPr lang="tr-TR" dirty="0" err="1"/>
              <a:t>Use</a:t>
            </a:r>
            <a:r>
              <a:rPr lang="tr-TR" dirty="0"/>
              <a:t> </a:t>
            </a:r>
            <a:r>
              <a:rPr lang="tr-TR" dirty="0" err="1"/>
              <a:t>Cases</a:t>
            </a:r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32497C5-CDB8-48B5-8686-4056C54CB22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tr-T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02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ias-Variance</a:t>
            </a:r>
            <a:r>
              <a:rPr lang="tr-TR" dirty="0" smtClean="0"/>
              <a:t> </a:t>
            </a:r>
            <a:r>
              <a:rPr lang="tr-TR" dirty="0" err="1" smtClean="0"/>
              <a:t>Tradeoff</a:t>
            </a:r>
            <a:endParaRPr lang="tr-TR" dirty="0"/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452" y="1851950"/>
            <a:ext cx="4978794" cy="2974695"/>
          </a:xfrm>
          <a:prstGeom prst="rect">
            <a:avLst/>
          </a:prstGeom>
        </p:spPr>
      </p:pic>
      <p:sp>
        <p:nvSpPr>
          <p:cNvPr id="6" name="Metin kutusu 5"/>
          <p:cNvSpPr txBox="1"/>
          <p:nvPr/>
        </p:nvSpPr>
        <p:spPr>
          <a:xfrm>
            <a:off x="4016410" y="4976436"/>
            <a:ext cx="3570307" cy="12169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err="1" smtClean="0">
                <a:solidFill>
                  <a:srgbClr val="575757"/>
                </a:solidFill>
              </a:rPr>
              <a:t>Bigger</a:t>
            </a:r>
            <a:r>
              <a:rPr lang="tr-TR" dirty="0" smtClean="0">
                <a:solidFill>
                  <a:srgbClr val="575757"/>
                </a:solidFill>
              </a:rPr>
              <a:t> Model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smtClean="0">
                <a:solidFill>
                  <a:srgbClr val="575757"/>
                </a:solidFill>
              </a:rPr>
              <a:t>Train </a:t>
            </a:r>
            <a:r>
              <a:rPr lang="tr-TR" dirty="0" err="1" smtClean="0">
                <a:solidFill>
                  <a:srgbClr val="575757"/>
                </a:solidFill>
              </a:rPr>
              <a:t>Longer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smtClean="0">
                <a:solidFill>
                  <a:srgbClr val="575757"/>
                </a:solidFill>
              </a:rPr>
              <a:t>New Architecture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4551499" y="1331090"/>
            <a:ext cx="2500131" cy="5208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b="1" dirty="0" smtClean="0">
                <a:solidFill>
                  <a:srgbClr val="575757"/>
                </a:solidFill>
              </a:rPr>
              <a:t>High </a:t>
            </a:r>
            <a:r>
              <a:rPr lang="tr-TR" b="1" dirty="0" err="1" smtClean="0">
                <a:solidFill>
                  <a:srgbClr val="575757"/>
                </a:solidFill>
              </a:rPr>
              <a:t>Bias</a:t>
            </a:r>
            <a:endParaRPr lang="tr-TR" b="1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498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ias-Variance</a:t>
            </a:r>
            <a:r>
              <a:rPr lang="tr-TR" dirty="0" smtClean="0"/>
              <a:t> </a:t>
            </a:r>
            <a:r>
              <a:rPr lang="tr-TR" dirty="0" err="1" smtClean="0"/>
              <a:t>Tradeoff</a:t>
            </a:r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016410" y="4976436"/>
            <a:ext cx="3570307" cy="12169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err="1" smtClean="0">
                <a:solidFill>
                  <a:srgbClr val="575757"/>
                </a:solidFill>
              </a:rPr>
              <a:t>Regularization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err="1" smtClean="0">
                <a:solidFill>
                  <a:srgbClr val="575757"/>
                </a:solidFill>
              </a:rPr>
              <a:t>More</a:t>
            </a:r>
            <a:r>
              <a:rPr lang="tr-TR" dirty="0" smtClean="0">
                <a:solidFill>
                  <a:srgbClr val="575757"/>
                </a:solidFill>
              </a:rPr>
              <a:t> Data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tr-TR" dirty="0" smtClean="0">
                <a:solidFill>
                  <a:srgbClr val="575757"/>
                </a:solidFill>
              </a:rPr>
              <a:t>New Architecture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4551499" y="1331090"/>
            <a:ext cx="2500131" cy="5208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b="1" dirty="0" smtClean="0">
                <a:solidFill>
                  <a:srgbClr val="575757"/>
                </a:solidFill>
              </a:rPr>
              <a:t>High </a:t>
            </a:r>
            <a:r>
              <a:rPr lang="tr-TR" b="1" dirty="0" err="1" smtClean="0">
                <a:solidFill>
                  <a:srgbClr val="575757"/>
                </a:solidFill>
              </a:rPr>
              <a:t>Variance</a:t>
            </a:r>
            <a:endParaRPr lang="tr-TR" b="1" dirty="0" smtClean="0">
              <a:solidFill>
                <a:srgbClr val="575757"/>
              </a:solidFill>
            </a:endParaRPr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480" y="1851951"/>
            <a:ext cx="5284165" cy="301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7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ias-Variance</a:t>
            </a:r>
            <a:r>
              <a:rPr lang="tr-TR" dirty="0" smtClean="0"/>
              <a:t> </a:t>
            </a:r>
            <a:r>
              <a:rPr lang="tr-TR" dirty="0" err="1" smtClean="0"/>
              <a:t>Tradeoff</a:t>
            </a:r>
            <a:endParaRPr lang="tr-TR" dirty="0"/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79" y="1396294"/>
            <a:ext cx="4629873" cy="4769198"/>
          </a:xfrm>
          <a:prstGeom prst="rect">
            <a:avLst/>
          </a:prstGeom>
        </p:spPr>
      </p:pic>
      <p:pic>
        <p:nvPicPr>
          <p:cNvPr id="8" name="Resim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354" y="2054563"/>
            <a:ext cx="5335929" cy="34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60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Overfitting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535274"/>
            <a:ext cx="5932846" cy="4454283"/>
          </a:xfrm>
          <a:prstGeom prst="rect">
            <a:avLst/>
          </a:prstGeom>
        </p:spPr>
      </p:pic>
      <p:sp>
        <p:nvSpPr>
          <p:cNvPr id="4" name="Metin kutusu 3"/>
          <p:cNvSpPr txBox="1"/>
          <p:nvPr/>
        </p:nvSpPr>
        <p:spPr>
          <a:xfrm>
            <a:off x="7106856" y="2314937"/>
            <a:ext cx="3507129" cy="28705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endParaRPr lang="tr-TR" b="1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smtClean="0">
                <a:solidFill>
                  <a:srgbClr val="575757"/>
                </a:solidFill>
              </a:rPr>
              <a:t>Simple </a:t>
            </a:r>
            <a:r>
              <a:rPr lang="tr-TR" dirty="0" err="1" smtClean="0">
                <a:solidFill>
                  <a:srgbClr val="575757"/>
                </a:solidFill>
              </a:rPr>
              <a:t>Models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smtClean="0">
                <a:solidFill>
                  <a:srgbClr val="575757"/>
                </a:solidFill>
              </a:rPr>
              <a:t>Cross </a:t>
            </a:r>
            <a:r>
              <a:rPr lang="tr-TR" dirty="0" err="1" smtClean="0">
                <a:solidFill>
                  <a:srgbClr val="575757"/>
                </a:solidFill>
              </a:rPr>
              <a:t>Validation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Regularization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Get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More</a:t>
            </a:r>
            <a:r>
              <a:rPr lang="tr-TR" dirty="0" smtClean="0">
                <a:solidFill>
                  <a:srgbClr val="575757"/>
                </a:solidFill>
              </a:rPr>
              <a:t> Data</a:t>
            </a: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Ensemble</a:t>
            </a:r>
            <a:r>
              <a:rPr lang="tr-TR" dirty="0" smtClean="0">
                <a:solidFill>
                  <a:srgbClr val="575757"/>
                </a:solidFill>
              </a:rPr>
              <a:t> Model</a:t>
            </a:r>
          </a:p>
        </p:txBody>
      </p:sp>
    </p:spTree>
    <p:extLst>
      <p:ext uri="{BB962C8B-B14F-4D97-AF65-F5344CB8AC3E}">
        <p14:creationId xmlns:p14="http://schemas.microsoft.com/office/powerpoint/2010/main" val="59833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Underfitting</a:t>
            </a:r>
            <a:endParaRPr lang="tr-TR" dirty="0"/>
          </a:p>
        </p:txBody>
      </p:sp>
      <p:sp>
        <p:nvSpPr>
          <p:cNvPr id="4" name="Metin kutusu 3"/>
          <p:cNvSpPr txBox="1"/>
          <p:nvPr/>
        </p:nvSpPr>
        <p:spPr>
          <a:xfrm>
            <a:off x="7106856" y="2314937"/>
            <a:ext cx="3507129" cy="28705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 smtClean="0">
                <a:solidFill>
                  <a:srgbClr val="575757"/>
                </a:solidFill>
              </a:rPr>
              <a:t>Solution:</a:t>
            </a:r>
          </a:p>
          <a:p>
            <a:endParaRPr lang="tr-TR" b="1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More</a:t>
            </a:r>
            <a:r>
              <a:rPr lang="tr-TR" dirty="0" smtClean="0">
                <a:solidFill>
                  <a:srgbClr val="575757"/>
                </a:solidFill>
              </a:rPr>
              <a:t> Training </a:t>
            </a:r>
            <a:r>
              <a:rPr lang="tr-TR" dirty="0" err="1" smtClean="0">
                <a:solidFill>
                  <a:srgbClr val="575757"/>
                </a:solidFill>
              </a:rPr>
              <a:t>Epoch</a:t>
            </a:r>
            <a:endParaRPr lang="tr-TR" dirty="0" smtClean="0">
              <a:solidFill>
                <a:srgbClr val="575757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tr-TR" dirty="0" err="1" smtClean="0">
                <a:solidFill>
                  <a:srgbClr val="575757"/>
                </a:solidFill>
              </a:rPr>
              <a:t>Complex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Models</a:t>
            </a:r>
            <a:endParaRPr lang="tr-TR" dirty="0" smtClean="0">
              <a:solidFill>
                <a:srgbClr val="575757"/>
              </a:solidFill>
            </a:endParaRPr>
          </a:p>
        </p:txBody>
      </p:sp>
      <p:sp>
        <p:nvSpPr>
          <p:cNvPr id="5" name="Metin kutusu 4"/>
          <p:cNvSpPr txBox="1"/>
          <p:nvPr/>
        </p:nvSpPr>
        <p:spPr>
          <a:xfrm>
            <a:off x="14416088" y="532923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 smtClean="0">
              <a:solidFill>
                <a:srgbClr val="575757"/>
              </a:solidFill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14330363" y="498633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 smtClean="0">
              <a:solidFill>
                <a:srgbClr val="575757"/>
              </a:solidFill>
            </a:endParaRPr>
          </a:p>
        </p:txBody>
      </p:sp>
      <p:pic>
        <p:nvPicPr>
          <p:cNvPr id="7" name="Resim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459961"/>
            <a:ext cx="5914854" cy="44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78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Overfitting</a:t>
            </a:r>
            <a:r>
              <a:rPr lang="tr-TR" dirty="0" smtClean="0"/>
              <a:t> vs. </a:t>
            </a:r>
            <a:r>
              <a:rPr lang="tr-TR" dirty="0" err="1" smtClean="0"/>
              <a:t>Underfitting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435" y="1415488"/>
            <a:ext cx="5870480" cy="4567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91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Regulariz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29" y="1491874"/>
            <a:ext cx="4615904" cy="3531539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675" y="1491874"/>
            <a:ext cx="4560055" cy="3540440"/>
          </a:xfrm>
          <a:prstGeom prst="rect">
            <a:avLst/>
          </a:prstGeom>
        </p:spPr>
      </p:pic>
      <p:sp>
        <p:nvSpPr>
          <p:cNvPr id="6" name="Metin kutusu 5"/>
          <p:cNvSpPr txBox="1"/>
          <p:nvPr/>
        </p:nvSpPr>
        <p:spPr>
          <a:xfrm>
            <a:off x="1769729" y="5043888"/>
            <a:ext cx="2604304" cy="462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Ridg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egression</a:t>
            </a:r>
            <a:endParaRPr lang="tr-TR" dirty="0" smtClean="0">
              <a:solidFill>
                <a:srgbClr val="575757"/>
              </a:solidFill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7074550" y="5043888"/>
            <a:ext cx="2604304" cy="462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Lasso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egularization</a:t>
            </a:r>
            <a:endParaRPr lang="tr-TR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30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Regularization</a:t>
            </a:r>
            <a:endParaRPr lang="tr-TR" dirty="0"/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1742" y="1578979"/>
            <a:ext cx="5720588" cy="371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84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Neural</a:t>
            </a:r>
            <a:r>
              <a:rPr lang="tr-TR" dirty="0" smtClean="0"/>
              <a:t> Network in a </a:t>
            </a:r>
            <a:r>
              <a:rPr lang="tr-TR" dirty="0" err="1" smtClean="0"/>
              <a:t>nutshell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8965" y="1851582"/>
            <a:ext cx="3912280" cy="3059176"/>
          </a:xfrm>
          <a:prstGeom prst="rect">
            <a:avLst/>
          </a:prstGeom>
        </p:spPr>
      </p:pic>
      <p:pic>
        <p:nvPicPr>
          <p:cNvPr id="4" name="Resi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689" y="2017016"/>
            <a:ext cx="4881395" cy="3367784"/>
          </a:xfrm>
          <a:prstGeom prst="rect">
            <a:avLst/>
          </a:prstGeom>
        </p:spPr>
      </p:pic>
      <p:sp>
        <p:nvSpPr>
          <p:cNvPr id="5" name="Metin kutusu 4"/>
          <p:cNvSpPr txBox="1"/>
          <p:nvPr/>
        </p:nvSpPr>
        <p:spPr>
          <a:xfrm>
            <a:off x="7374127" y="1237421"/>
            <a:ext cx="2032000" cy="47043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Zoom</a:t>
            </a:r>
            <a:r>
              <a:rPr lang="tr-TR" dirty="0" smtClean="0">
                <a:solidFill>
                  <a:srgbClr val="575757"/>
                </a:solidFill>
              </a:rPr>
              <a:t> in </a:t>
            </a:r>
            <a:r>
              <a:rPr lang="tr-TR" dirty="0" err="1" smtClean="0">
                <a:solidFill>
                  <a:srgbClr val="575757"/>
                </a:solidFill>
              </a:rPr>
              <a:t>on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Node</a:t>
            </a:r>
            <a:endParaRPr lang="tr-TR" dirty="0" smtClean="0">
              <a:solidFill>
                <a:srgbClr val="575757"/>
              </a:solidFill>
            </a:endParaRPr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816" y="5033523"/>
            <a:ext cx="2562578" cy="144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26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Gradient</a:t>
            </a:r>
            <a:r>
              <a:rPr lang="tr-TR" dirty="0" smtClean="0"/>
              <a:t> </a:t>
            </a:r>
            <a:r>
              <a:rPr lang="tr-TR" dirty="0" err="1" smtClean="0"/>
              <a:t>Descent</a:t>
            </a:r>
            <a:endParaRPr lang="tr-TR" dirty="0"/>
          </a:p>
        </p:txBody>
      </p:sp>
      <p:sp>
        <p:nvSpPr>
          <p:cNvPr id="4" name="Metin kutusu 3"/>
          <p:cNvSpPr txBox="1"/>
          <p:nvPr/>
        </p:nvSpPr>
        <p:spPr>
          <a:xfrm>
            <a:off x="5125156" y="846667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dirty="0" err="1" smtClean="0">
              <a:solidFill>
                <a:srgbClr val="575757"/>
              </a:solidFill>
            </a:endParaRPr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1"/>
          <a:stretch/>
        </p:blipFill>
        <p:spPr>
          <a:xfrm>
            <a:off x="2038294" y="1557867"/>
            <a:ext cx="7622918" cy="435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83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45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3"/>
          </p:nvPr>
        </p:nvSpPr>
        <p:spPr>
          <a:xfrm>
            <a:off x="5075434" y="2700762"/>
            <a:ext cx="2875200" cy="39006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ata Scientist, KoçDigit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75434" y="2343394"/>
            <a:ext cx="2875200" cy="357368"/>
          </a:xfrm>
        </p:spPr>
        <p:txBody>
          <a:bodyPr/>
          <a:lstStyle/>
          <a:p>
            <a:r>
              <a:rPr lang="tr-TR" b="1" dirty="0">
                <a:solidFill>
                  <a:schemeClr val="tx1"/>
                </a:solidFill>
              </a:rPr>
              <a:t>Mustafa Kara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" name="ee4pContent1"/>
          <p:cNvSpPr txBox="1"/>
          <p:nvPr>
            <p:custDataLst>
              <p:tags r:id="rId3"/>
            </p:custDataLst>
          </p:nvPr>
        </p:nvSpPr>
        <p:spPr>
          <a:xfrm>
            <a:off x="5075434" y="3744931"/>
            <a:ext cx="6945990" cy="9667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Master’s degree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Mathemat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Yıldız Techn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University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 (</a:t>
            </a:r>
            <a:r>
              <a:rPr lang="tr-TR" sz="1500" dirty="0" err="1">
                <a:solidFill>
                  <a:schemeClr val="tx1">
                    <a:lumMod val="100000"/>
                  </a:schemeClr>
                </a:solidFill>
              </a:rPr>
              <a:t>present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)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endParaRPr lang="tr-TR" sz="1500" dirty="0">
              <a:solidFill>
                <a:schemeClr val="tx1">
                  <a:lumMod val="100000"/>
                </a:schemeClr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Bachelor’s degree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Mathemat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Yıldız Technical </a:t>
            </a: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University</a:t>
            </a:r>
          </a:p>
        </p:txBody>
      </p:sp>
      <p:sp>
        <p:nvSpPr>
          <p:cNvPr id="14" name="ee4pContent1"/>
          <p:cNvSpPr txBox="1"/>
          <p:nvPr>
            <p:custDataLst>
              <p:tags r:id="rId4"/>
            </p:custDataLst>
          </p:nvPr>
        </p:nvSpPr>
        <p:spPr>
          <a:xfrm>
            <a:off x="5075434" y="3430810"/>
            <a:ext cx="6272009" cy="3223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sz="1600" dirty="0">
                <a:solidFill>
                  <a:srgbClr val="ED4422"/>
                </a:solidFill>
              </a:rPr>
              <a:t>Educa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0700" y="2146350"/>
            <a:ext cx="2565300" cy="2565300"/>
          </a:xfrm>
          <a:prstGeom prst="ellipse">
            <a:avLst/>
          </a:prstGeom>
          <a:solidFill>
            <a:schemeClr val="tx2"/>
          </a:solidFill>
          <a:ln w="25400" cap="rnd">
            <a:solidFill>
              <a:schemeClr val="tx2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54D7E5B-3A16-46B9-997D-0B499D4F67BE}"/>
              </a:ext>
            </a:extLst>
          </p:cNvPr>
          <p:cNvSpPr txBox="1">
            <a:spLocks/>
          </p:cNvSpPr>
          <p:nvPr/>
        </p:nvSpPr>
        <p:spPr>
          <a:xfrm>
            <a:off x="630000" y="622800"/>
            <a:ext cx="10933350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Segoe UI" panose="020B0502040204020203" pitchFamily="34" charset="0"/>
                <a:sym typeface="Trebuchet MS" panose="020B0603020202020204" pitchFamily="34" charset="0"/>
              </a:defRPr>
            </a:lvl1pPr>
          </a:lstStyle>
          <a:p>
            <a:pPr>
              <a:tabLst>
                <a:tab pos="10580688" algn="r"/>
              </a:tabLst>
            </a:pPr>
            <a:r>
              <a:rPr lang="tr-TR" sz="3200" dirty="0" err="1"/>
              <a:t>Introductions</a:t>
            </a:r>
            <a:endParaRPr lang="en-US" sz="3200" dirty="0"/>
          </a:p>
        </p:txBody>
      </p:sp>
      <p:sp>
        <p:nvSpPr>
          <p:cNvPr id="18" name="NavigationText">
            <a:extLst>
              <a:ext uri="{FF2B5EF4-FFF2-40B4-BE49-F238E27FC236}">
                <a16:creationId xmlns:a16="http://schemas.microsoft.com/office/drawing/2014/main" id="{72AC8C9C-B38E-44D2-9693-CDC4EEE339CC}"/>
              </a:ext>
            </a:extLst>
          </p:cNvPr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tr-TR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rPr>
              <a:t>Introductions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04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Error</a:t>
            </a:r>
            <a:r>
              <a:rPr lang="tr-TR" dirty="0" smtClean="0"/>
              <a:t>/</a:t>
            </a:r>
            <a:r>
              <a:rPr lang="tr-TR" dirty="0" err="1" smtClean="0"/>
              <a:t>Loss</a:t>
            </a:r>
            <a:r>
              <a:rPr lang="tr-TR" dirty="0" smtClean="0"/>
              <a:t> </a:t>
            </a:r>
            <a:r>
              <a:rPr lang="tr-TR" dirty="0" err="1" smtClean="0"/>
              <a:t>Func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709822"/>
            <a:ext cx="5940510" cy="3870946"/>
          </a:xfrm>
          <a:prstGeom prst="rect">
            <a:avLst/>
          </a:prstGeom>
        </p:spPr>
      </p:pic>
      <p:sp>
        <p:nvSpPr>
          <p:cNvPr id="4" name="Metin kutusu 3"/>
          <p:cNvSpPr txBox="1"/>
          <p:nvPr/>
        </p:nvSpPr>
        <p:spPr>
          <a:xfrm>
            <a:off x="7044267" y="1693333"/>
            <a:ext cx="4402666" cy="42107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b="1" dirty="0" smtClean="0">
                <a:solidFill>
                  <a:srgbClr val="575757"/>
                </a:solidFill>
              </a:rPr>
              <a:t>How </a:t>
            </a:r>
            <a:r>
              <a:rPr lang="tr-TR" b="1" dirty="0" err="1" smtClean="0">
                <a:solidFill>
                  <a:srgbClr val="575757"/>
                </a:solidFill>
              </a:rPr>
              <a:t>to</a:t>
            </a:r>
            <a:r>
              <a:rPr lang="tr-TR" b="1" dirty="0" smtClean="0">
                <a:solidFill>
                  <a:srgbClr val="575757"/>
                </a:solidFill>
              </a:rPr>
              <a:t> minimize </a:t>
            </a:r>
            <a:r>
              <a:rPr lang="tr-TR" b="1" dirty="0" err="1" smtClean="0">
                <a:solidFill>
                  <a:srgbClr val="575757"/>
                </a:solidFill>
              </a:rPr>
              <a:t>Loss</a:t>
            </a:r>
            <a:r>
              <a:rPr lang="tr-TR" b="1" dirty="0" smtClean="0">
                <a:solidFill>
                  <a:srgbClr val="575757"/>
                </a:solidFill>
              </a:rPr>
              <a:t> </a:t>
            </a:r>
            <a:r>
              <a:rPr lang="tr-TR" b="1" dirty="0" err="1" smtClean="0">
                <a:solidFill>
                  <a:srgbClr val="575757"/>
                </a:solidFill>
              </a:rPr>
              <a:t>function</a:t>
            </a:r>
            <a:r>
              <a:rPr lang="tr-TR" b="1" dirty="0" smtClean="0">
                <a:solidFill>
                  <a:srgbClr val="575757"/>
                </a:solidFill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smtClean="0">
                <a:solidFill>
                  <a:srgbClr val="575757"/>
                </a:solidFill>
              </a:rPr>
              <a:t>Start </a:t>
            </a:r>
            <a:r>
              <a:rPr lang="tr-TR" dirty="0" err="1" smtClean="0">
                <a:solidFill>
                  <a:srgbClr val="575757"/>
                </a:solidFill>
              </a:rPr>
              <a:t>with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andom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values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for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W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and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b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err="1" smtClean="0">
                <a:solidFill>
                  <a:srgbClr val="575757"/>
                </a:solidFill>
              </a:rPr>
              <a:t>Comput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gradients</a:t>
            </a:r>
            <a:r>
              <a:rPr lang="tr-TR" dirty="0" smtClean="0">
                <a:solidFill>
                  <a:srgbClr val="575757"/>
                </a:solidFill>
              </a:rPr>
              <a:t> of </a:t>
            </a:r>
            <a:r>
              <a:rPr lang="tr-TR" b="1" dirty="0" smtClean="0">
                <a:solidFill>
                  <a:srgbClr val="575757"/>
                </a:solidFill>
              </a:rPr>
              <a:t>J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with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respect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to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W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and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b="1" dirty="0" smtClean="0">
                <a:solidFill>
                  <a:srgbClr val="575757"/>
                </a:solidFill>
              </a:rPr>
              <a:t>b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err="1" smtClean="0">
                <a:solidFill>
                  <a:srgbClr val="575757"/>
                </a:solidFill>
              </a:rPr>
              <a:t>Take</a:t>
            </a:r>
            <a:r>
              <a:rPr lang="tr-TR" dirty="0" smtClean="0">
                <a:solidFill>
                  <a:srgbClr val="575757"/>
                </a:solidFill>
              </a:rPr>
              <a:t> a </a:t>
            </a:r>
            <a:r>
              <a:rPr lang="tr-TR" dirty="0" err="1" smtClean="0">
                <a:solidFill>
                  <a:srgbClr val="575757"/>
                </a:solidFill>
              </a:rPr>
              <a:t>small</a:t>
            </a:r>
            <a:r>
              <a:rPr lang="tr-TR" dirty="0" smtClean="0">
                <a:solidFill>
                  <a:srgbClr val="575757"/>
                </a:solidFill>
              </a:rPr>
              <a:t> step (</a:t>
            </a:r>
            <a:r>
              <a:rPr lang="tr-TR" b="1" dirty="0" err="1" smtClean="0">
                <a:solidFill>
                  <a:srgbClr val="575757"/>
                </a:solidFill>
              </a:rPr>
              <a:t>learning</a:t>
            </a:r>
            <a:r>
              <a:rPr lang="tr-TR" b="1" dirty="0" smtClean="0">
                <a:solidFill>
                  <a:srgbClr val="575757"/>
                </a:solidFill>
              </a:rPr>
              <a:t> rate</a:t>
            </a:r>
            <a:r>
              <a:rPr lang="tr-TR" dirty="0" smtClean="0">
                <a:solidFill>
                  <a:srgbClr val="575757"/>
                </a:solidFill>
              </a:rPr>
              <a:t>) </a:t>
            </a:r>
            <a:r>
              <a:rPr lang="tr-TR" dirty="0" err="1" smtClean="0">
                <a:solidFill>
                  <a:srgbClr val="575757"/>
                </a:solidFill>
              </a:rPr>
              <a:t>along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th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direction</a:t>
            </a:r>
            <a:r>
              <a:rPr lang="tr-TR" dirty="0" smtClean="0">
                <a:solidFill>
                  <a:srgbClr val="575757"/>
                </a:solidFill>
              </a:rPr>
              <a:t> of </a:t>
            </a:r>
            <a:r>
              <a:rPr lang="tr-TR" dirty="0" err="1" smtClean="0">
                <a:solidFill>
                  <a:srgbClr val="575757"/>
                </a:solidFill>
              </a:rPr>
              <a:t>th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negativ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gradient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tr-TR" dirty="0" err="1" smtClean="0">
                <a:solidFill>
                  <a:srgbClr val="575757"/>
                </a:solidFill>
              </a:rPr>
              <a:t>Go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back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to</a:t>
            </a:r>
            <a:r>
              <a:rPr lang="tr-TR" dirty="0" smtClean="0">
                <a:solidFill>
                  <a:srgbClr val="575757"/>
                </a:solidFill>
              </a:rPr>
              <a:t> step 2</a:t>
            </a:r>
          </a:p>
        </p:txBody>
      </p:sp>
    </p:spTree>
    <p:extLst>
      <p:ext uri="{BB962C8B-B14F-4D97-AF65-F5344CB8AC3E}">
        <p14:creationId xmlns:p14="http://schemas.microsoft.com/office/powerpoint/2010/main" val="102578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Backpropog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112" y="1200856"/>
            <a:ext cx="9050130" cy="5086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Backpropog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9512" y="1265307"/>
            <a:ext cx="9019822" cy="507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60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tr-TR" sz="3200" dirty="0" err="1"/>
              <a:t>What</a:t>
            </a:r>
            <a:r>
              <a:rPr lang="tr-TR" sz="3200" dirty="0"/>
              <a:t> is </a:t>
            </a:r>
            <a:r>
              <a:rPr lang="tr-TR" sz="3200" dirty="0" err="1"/>
              <a:t>Computer</a:t>
            </a:r>
            <a:r>
              <a:rPr lang="tr-TR" sz="3200" dirty="0"/>
              <a:t> </a:t>
            </a:r>
            <a:r>
              <a:rPr lang="tr-TR" sz="3200" dirty="0" err="1"/>
              <a:t>Vision</a:t>
            </a:r>
            <a:r>
              <a:rPr lang="tr-TR" sz="3200" dirty="0"/>
              <a:t>?</a:t>
            </a:r>
            <a:endParaRPr lang="en-US" sz="3200" dirty="0"/>
          </a:p>
        </p:txBody>
      </p:sp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ee4pFootnotes"/>
          <p:cNvSpPr>
            <a:spLocks noChangeArrowheads="1"/>
          </p:cNvSpPr>
          <p:nvPr/>
        </p:nvSpPr>
        <p:spPr bwMode="auto">
          <a:xfrm>
            <a:off x="788808" y="6344273"/>
            <a:ext cx="7182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</a:t>
            </a:r>
            <a:r>
              <a:rPr lang="tr-TR" sz="10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tanford </a:t>
            </a:r>
            <a:r>
              <a:rPr lang="tr-TR" sz="1000" dirty="0" err="1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University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FD6B931-C0B6-4313-986F-50C1295F83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146" y="1885606"/>
            <a:ext cx="9621593" cy="363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49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2B04AF1B-E32E-4E4A-9660-975892B1005C}"/>
              </a:ext>
            </a:extLst>
          </p:cNvPr>
          <p:cNvCxnSpPr>
            <a:stCxn id="4" idx="2"/>
          </p:cNvCxnSpPr>
          <p:nvPr/>
        </p:nvCxnSpPr>
        <p:spPr>
          <a:xfrm>
            <a:off x="4675819" y="2848850"/>
            <a:ext cx="1420180" cy="801749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F535274-D065-40C0-A85C-75E894AFB6C5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4675818" y="3629272"/>
            <a:ext cx="1420181" cy="21327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1377654-3080-41EB-82E1-1222ADDDE0E2}"/>
              </a:ext>
            </a:extLst>
          </p:cNvPr>
          <p:cNvCxnSpPr>
            <a:cxnSpLocks/>
            <a:stCxn id="12" idx="0"/>
          </p:cNvCxnSpPr>
          <p:nvPr/>
        </p:nvCxnSpPr>
        <p:spPr>
          <a:xfrm flipV="1">
            <a:off x="4675818" y="3639935"/>
            <a:ext cx="1420181" cy="761370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BC69EAD-D6AE-49B4-9289-DC768C774B9D}"/>
              </a:ext>
            </a:extLst>
          </p:cNvPr>
          <p:cNvCxnSpPr>
            <a:cxnSpLocks/>
            <a:stCxn id="14" idx="2"/>
          </p:cNvCxnSpPr>
          <p:nvPr/>
        </p:nvCxnSpPr>
        <p:spPr>
          <a:xfrm flipH="1">
            <a:off x="6095999" y="2848850"/>
            <a:ext cx="1420184" cy="810827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5A8988C-A2C0-43D7-A6EF-4E3AB02C6836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6061400" y="3640113"/>
            <a:ext cx="1454782" cy="19564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B3B9B666-3272-4538-8E9A-D978F3681CEE}"/>
              </a:ext>
            </a:extLst>
          </p:cNvPr>
          <p:cNvCxnSpPr>
            <a:cxnSpLocks/>
            <a:stCxn id="59" idx="0"/>
          </p:cNvCxnSpPr>
          <p:nvPr/>
        </p:nvCxnSpPr>
        <p:spPr>
          <a:xfrm flipH="1" flipV="1">
            <a:off x="6095999" y="3659677"/>
            <a:ext cx="1420183" cy="741628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tr-TR" sz="3200" dirty="0" err="1"/>
              <a:t>Computer</a:t>
            </a:r>
            <a:r>
              <a:rPr lang="tr-TR" sz="3200" dirty="0"/>
              <a:t> </a:t>
            </a:r>
            <a:r>
              <a:rPr lang="tr-TR" sz="3200" dirty="0" err="1"/>
              <a:t>Vision</a:t>
            </a:r>
            <a:r>
              <a:rPr lang="tr-TR" sz="3200" dirty="0"/>
              <a:t> Applications</a:t>
            </a:r>
            <a:endParaRPr lang="en-US" sz="3200" dirty="0"/>
          </a:p>
        </p:txBody>
      </p:sp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78A1B67-D43A-4D08-B1BC-47C8DE088F85}"/>
              </a:ext>
            </a:extLst>
          </p:cNvPr>
          <p:cNvSpPr/>
          <p:nvPr/>
        </p:nvSpPr>
        <p:spPr>
          <a:xfrm>
            <a:off x="5874400" y="3429000"/>
            <a:ext cx="443198" cy="443198"/>
          </a:xfrm>
          <a:prstGeom prst="ellipse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9274B5C-88D8-49B7-99BE-4FB723F3BD54}"/>
              </a:ext>
            </a:extLst>
          </p:cNvPr>
          <p:cNvSpPr/>
          <p:nvPr/>
        </p:nvSpPr>
        <p:spPr>
          <a:xfrm>
            <a:off x="3748835" y="2236454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b="1" dirty="0">
                <a:solidFill>
                  <a:schemeClr val="tx1"/>
                </a:solidFill>
              </a:rPr>
              <a:t>Image </a:t>
            </a:r>
            <a:r>
              <a:rPr lang="tr-TR" sz="1200" b="1" dirty="0" err="1">
                <a:solidFill>
                  <a:schemeClr val="tx1"/>
                </a:solidFill>
              </a:rPr>
              <a:t>Classification</a:t>
            </a:r>
            <a:endParaRPr lang="tr-T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BD6E0F-CEE2-4B1B-B8D6-A05A04A5DC28}"/>
              </a:ext>
            </a:extLst>
          </p:cNvPr>
          <p:cNvSpPr/>
          <p:nvPr/>
        </p:nvSpPr>
        <p:spPr>
          <a:xfrm>
            <a:off x="2821851" y="3323074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>
                <a:solidFill>
                  <a:schemeClr val="tx1"/>
                </a:solidFill>
              </a:rPr>
              <a:t>Object </a:t>
            </a:r>
            <a:r>
              <a:rPr lang="tr-TR" sz="1200" dirty="0" err="1">
                <a:solidFill>
                  <a:schemeClr val="tx1"/>
                </a:solidFill>
              </a:rPr>
              <a:t>Detection</a:t>
            </a:r>
            <a:endParaRPr lang="tr-TR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18A63D-847C-4EC7-89E0-222C618C88EE}"/>
              </a:ext>
            </a:extLst>
          </p:cNvPr>
          <p:cNvSpPr/>
          <p:nvPr/>
        </p:nvSpPr>
        <p:spPr>
          <a:xfrm>
            <a:off x="3748834" y="4401305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>
                <a:solidFill>
                  <a:schemeClr val="tx1"/>
                </a:solidFill>
              </a:rPr>
              <a:t>Object </a:t>
            </a:r>
            <a:r>
              <a:rPr lang="tr-TR" sz="1200" dirty="0" err="1">
                <a:solidFill>
                  <a:schemeClr val="tx1"/>
                </a:solidFill>
              </a:rPr>
              <a:t>Segmentation</a:t>
            </a:r>
            <a:endParaRPr lang="tr-TR" sz="12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60B43F-9959-4423-B1B8-E4BF72E1211A}"/>
              </a:ext>
            </a:extLst>
          </p:cNvPr>
          <p:cNvSpPr/>
          <p:nvPr/>
        </p:nvSpPr>
        <p:spPr>
          <a:xfrm>
            <a:off x="7516182" y="3333915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 err="1">
                <a:solidFill>
                  <a:schemeClr val="tx1"/>
                </a:solidFill>
              </a:rPr>
              <a:t>Landmark</a:t>
            </a:r>
            <a:r>
              <a:rPr lang="tr-TR" sz="1200" dirty="0">
                <a:solidFill>
                  <a:schemeClr val="tx1"/>
                </a:solidFill>
              </a:rPr>
              <a:t> </a:t>
            </a:r>
            <a:r>
              <a:rPr lang="tr-TR" sz="1200" dirty="0" err="1">
                <a:solidFill>
                  <a:schemeClr val="tx1"/>
                </a:solidFill>
              </a:rPr>
              <a:t>Detection</a:t>
            </a:r>
            <a:endParaRPr lang="tr-TR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E8711A-3CB7-433E-B666-CA85F3F42C5C}"/>
              </a:ext>
            </a:extLst>
          </p:cNvPr>
          <p:cNvSpPr/>
          <p:nvPr/>
        </p:nvSpPr>
        <p:spPr>
          <a:xfrm>
            <a:off x="6589199" y="2236454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 err="1">
                <a:solidFill>
                  <a:schemeClr val="tx1"/>
                </a:solidFill>
              </a:rPr>
              <a:t>Generative</a:t>
            </a:r>
            <a:r>
              <a:rPr lang="tr-TR" sz="1200" dirty="0">
                <a:solidFill>
                  <a:schemeClr val="tx1"/>
                </a:solidFill>
              </a:rPr>
              <a:t> Network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D86FBA6-3690-46E7-B776-A117DA5B64EE}"/>
              </a:ext>
            </a:extLst>
          </p:cNvPr>
          <p:cNvSpPr/>
          <p:nvPr/>
        </p:nvSpPr>
        <p:spPr>
          <a:xfrm>
            <a:off x="6589198" y="4401305"/>
            <a:ext cx="1853967" cy="612396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1200" dirty="0" err="1">
                <a:solidFill>
                  <a:schemeClr val="tx1"/>
                </a:solidFill>
              </a:rPr>
              <a:t>Face</a:t>
            </a:r>
            <a:r>
              <a:rPr lang="tr-TR" sz="1200" dirty="0">
                <a:solidFill>
                  <a:schemeClr val="tx1"/>
                </a:solidFill>
              </a:rPr>
              <a:t> </a:t>
            </a:r>
            <a:r>
              <a:rPr lang="tr-TR" sz="1200" dirty="0" err="1">
                <a:solidFill>
                  <a:schemeClr val="tx1"/>
                </a:solidFill>
              </a:rPr>
              <a:t>Recognition</a:t>
            </a:r>
            <a:endParaRPr lang="tr-TR" sz="1200" dirty="0">
              <a:solidFill>
                <a:schemeClr val="tx1"/>
              </a:solidFill>
            </a:endParaRPr>
          </a:p>
        </p:txBody>
      </p:sp>
      <p:pic>
        <p:nvPicPr>
          <p:cNvPr id="883716" name="Picture 4">
            <a:extLst>
              <a:ext uri="{FF2B5EF4-FFF2-40B4-BE49-F238E27FC236}">
                <a16:creationId xmlns:a16="http://schemas.microsoft.com/office/drawing/2014/main" id="{74D96DC9-9691-4416-BEF0-313ECD5D6F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66" y="2560014"/>
            <a:ext cx="2104201" cy="138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18" name="Picture 6">
            <a:extLst>
              <a:ext uri="{FF2B5EF4-FFF2-40B4-BE49-F238E27FC236}">
                <a16:creationId xmlns:a16="http://schemas.microsoft.com/office/drawing/2014/main" id="{767E7A03-E2A6-45C0-A819-3BEBB8847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8396" y="5105926"/>
            <a:ext cx="1604405" cy="1604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20" name="Picture 8">
            <a:extLst>
              <a:ext uri="{FF2B5EF4-FFF2-40B4-BE49-F238E27FC236}">
                <a16:creationId xmlns:a16="http://schemas.microsoft.com/office/drawing/2014/main" id="{8C9F5FF3-B933-4251-BEF5-170F058C3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1749" y="3323074"/>
            <a:ext cx="1612224" cy="1534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22" name="Picture 10">
            <a:extLst>
              <a:ext uri="{FF2B5EF4-FFF2-40B4-BE49-F238E27FC236}">
                <a16:creationId xmlns:a16="http://schemas.microsoft.com/office/drawing/2014/main" id="{3AC9D2F4-B1CF-4500-A855-F5AF3E617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4816" y="1042974"/>
            <a:ext cx="1973865" cy="180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121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tr-TR" sz="3200" dirty="0" err="1"/>
              <a:t>Computer</a:t>
            </a:r>
            <a:r>
              <a:rPr lang="tr-TR" sz="3200" dirty="0"/>
              <a:t> </a:t>
            </a:r>
            <a:r>
              <a:rPr lang="tr-TR" sz="3200" dirty="0" err="1"/>
              <a:t>Vision</a:t>
            </a:r>
            <a:r>
              <a:rPr lang="tr-TR" sz="3200" dirty="0"/>
              <a:t> </a:t>
            </a:r>
            <a:r>
              <a:rPr lang="tr-TR" sz="3200" dirty="0" err="1"/>
              <a:t>Trends</a:t>
            </a:r>
            <a:endParaRPr lang="en-US" sz="3200" dirty="0"/>
          </a:p>
        </p:txBody>
      </p:sp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ee4pFootnotes"/>
          <p:cNvSpPr>
            <a:spLocks noChangeArrowheads="1"/>
          </p:cNvSpPr>
          <p:nvPr/>
        </p:nvSpPr>
        <p:spPr bwMode="auto">
          <a:xfrm>
            <a:off x="788808" y="6190384"/>
            <a:ext cx="7182000" cy="30777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lvl="0"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</a:t>
            </a:r>
            <a:r>
              <a:rPr lang="en-US" sz="10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https://towardsdatascience.com/latest-computer-vision-trends-from-cvpr-2019-c07806dd570b</a:t>
            </a:r>
            <a:endParaRPr lang="tr-TR" sz="10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E6D920-8C5A-442E-848A-D2B6744250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075" y="1483475"/>
            <a:ext cx="4124454" cy="42894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12F7CB-5680-4434-B225-8B7A2070A2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222" y="1483475"/>
            <a:ext cx="4646147" cy="14664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A815AA-8215-4CB0-9FF4-45A7823BB9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222" y="3155578"/>
            <a:ext cx="4646147" cy="261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0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15498"/>
          </a:xfrm>
        </p:spPr>
        <p:txBody>
          <a:bodyPr/>
          <a:lstStyle/>
          <a:p>
            <a:r>
              <a:rPr lang="en-US" sz="3000" dirty="0"/>
              <a:t>Intelligent Video Analytics is…</a:t>
            </a:r>
          </a:p>
        </p:txBody>
      </p:sp>
      <p:pic>
        <p:nvPicPr>
          <p:cNvPr id="202756" name="Picture 4" descr="https://www.technative.io/wp-content/uploads/2018/11/AdobeStock_143220535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13"/>
          <a:stretch/>
        </p:blipFill>
        <p:spPr bwMode="auto">
          <a:xfrm>
            <a:off x="0" y="1551722"/>
            <a:ext cx="6452650" cy="5299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758" name="Picture 6" descr="https://v-count.com/wp-content/uploads/2018/03/Heatmap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95"/>
          <a:stretch/>
        </p:blipFill>
        <p:spPr bwMode="auto">
          <a:xfrm>
            <a:off x="6524758" y="1553592"/>
            <a:ext cx="5667241" cy="2559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760" name="Picture 8" descr="https://cdn-images-1.medium.com/max/1600/1*n_hm6Wg8Xgq6kUhDsUKfKg.jpe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8"/>
          <a:stretch/>
        </p:blipFill>
        <p:spPr bwMode="auto">
          <a:xfrm>
            <a:off x="6524758" y="4191000"/>
            <a:ext cx="5667242" cy="267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7" name="NavigationText"/>
          <p:cNvSpPr/>
          <p:nvPr/>
        </p:nvSpPr>
        <p:spPr>
          <a:xfrm>
            <a:off x="10061325" y="301446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Intelligent </a:t>
            </a:r>
          </a:p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ideo Analytics</a:t>
            </a:r>
          </a:p>
        </p:txBody>
      </p:sp>
      <p:sp>
        <p:nvSpPr>
          <p:cNvPr id="78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Overlay"/>
          <p:cNvSpPr/>
          <p:nvPr>
            <p:custDataLst>
              <p:tags r:id="rId1"/>
            </p:custDataLst>
          </p:nvPr>
        </p:nvSpPr>
        <p:spPr>
          <a:xfrm>
            <a:off x="675" y="1551723"/>
            <a:ext cx="6451975" cy="5306278"/>
          </a:xfrm>
          <a:prstGeom prst="rect">
            <a:avLst/>
          </a:prstGeom>
          <a:solidFill>
            <a:srgbClr val="000000">
              <a:alpha val="62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Overlay"/>
          <p:cNvSpPr/>
          <p:nvPr>
            <p:custDataLst>
              <p:tags r:id="rId2"/>
            </p:custDataLst>
          </p:nvPr>
        </p:nvSpPr>
        <p:spPr>
          <a:xfrm>
            <a:off x="6524759" y="1551722"/>
            <a:ext cx="5667242" cy="2561209"/>
          </a:xfrm>
          <a:prstGeom prst="rect">
            <a:avLst/>
          </a:prstGeom>
          <a:solidFill>
            <a:srgbClr val="000000">
              <a:alpha val="62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Overlay"/>
          <p:cNvSpPr/>
          <p:nvPr>
            <p:custDataLst>
              <p:tags r:id="rId3"/>
            </p:custDataLst>
          </p:nvPr>
        </p:nvSpPr>
        <p:spPr>
          <a:xfrm>
            <a:off x="6524758" y="4190999"/>
            <a:ext cx="5667242" cy="2655122"/>
          </a:xfrm>
          <a:prstGeom prst="rect">
            <a:avLst/>
          </a:prstGeom>
          <a:solidFill>
            <a:srgbClr val="000000">
              <a:alpha val="62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Title 4"/>
          <p:cNvSpPr txBox="1">
            <a:spLocks/>
          </p:cNvSpPr>
          <p:nvPr/>
        </p:nvSpPr>
        <p:spPr>
          <a:xfrm>
            <a:off x="7345918" y="2132140"/>
            <a:ext cx="4695035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…analyze video content in real-time</a:t>
            </a:r>
          </a:p>
        </p:txBody>
      </p:sp>
      <p:sp>
        <p:nvSpPr>
          <p:cNvPr id="19" name="Title 4"/>
          <p:cNvSpPr txBox="1">
            <a:spLocks/>
          </p:cNvSpPr>
          <p:nvPr/>
        </p:nvSpPr>
        <p:spPr>
          <a:xfrm>
            <a:off x="1502907" y="4724201"/>
            <a:ext cx="4695035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...extract metadata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0" name="Title 4"/>
          <p:cNvSpPr txBox="1">
            <a:spLocks/>
          </p:cNvSpPr>
          <p:nvPr/>
        </p:nvSpPr>
        <p:spPr>
          <a:xfrm>
            <a:off x="7178389" y="4973500"/>
            <a:ext cx="4862564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… and provide actionable intelligence 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1" name="Title 4"/>
          <p:cNvSpPr txBox="1">
            <a:spLocks/>
          </p:cNvSpPr>
          <p:nvPr/>
        </p:nvSpPr>
        <p:spPr>
          <a:xfrm>
            <a:off x="396093" y="2085364"/>
            <a:ext cx="5660464" cy="14957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Adding artificial intelligence to cameras in order to…</a:t>
            </a:r>
          </a:p>
        </p:txBody>
      </p:sp>
    </p:spTree>
    <p:extLst>
      <p:ext uri="{BB962C8B-B14F-4D97-AF65-F5344CB8AC3E}">
        <p14:creationId xmlns:p14="http://schemas.microsoft.com/office/powerpoint/2010/main" val="12053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43198"/>
          </a:xfrm>
        </p:spPr>
        <p:txBody>
          <a:bodyPr/>
          <a:lstStyle/>
          <a:p>
            <a:r>
              <a:rPr lang="en-US" sz="3200" dirty="0"/>
              <a:t>Video Analytics</a:t>
            </a:r>
            <a:r>
              <a:rPr lang="tr-TR" sz="3200" dirty="0"/>
              <a:t> </a:t>
            </a:r>
            <a:r>
              <a:rPr lang="en-US" sz="3200" dirty="0"/>
              <a:t>Vertical</a:t>
            </a:r>
            <a:r>
              <a:rPr lang="tr-TR" sz="3200" dirty="0"/>
              <a:t> </a:t>
            </a:r>
            <a:r>
              <a:rPr lang="en-US" sz="3200" dirty="0"/>
              <a:t>Solution</a:t>
            </a:r>
            <a:r>
              <a:rPr lang="tr-TR" sz="3200" dirty="0"/>
              <a:t>s</a:t>
            </a:r>
            <a:endParaRPr lang="en-US" sz="3200" dirty="0"/>
          </a:p>
        </p:txBody>
      </p:sp>
      <p:sp>
        <p:nvSpPr>
          <p:cNvPr id="3" name="Rectangle 2"/>
          <p:cNvSpPr/>
          <p:nvPr/>
        </p:nvSpPr>
        <p:spPr>
          <a:xfrm>
            <a:off x="721184" y="1900858"/>
            <a:ext cx="3488589" cy="36459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89849" y="1900857"/>
            <a:ext cx="3488589" cy="36459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Trebuchet MS" panose="020B060302020202020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858513" y="1900857"/>
            <a:ext cx="3488589" cy="36459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82241" y="4269132"/>
            <a:ext cx="2446195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afety</a:t>
            </a: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&amp; Secur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Area viol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rotective equipment usag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Handrail usage</a:t>
            </a:r>
          </a:p>
        </p:txBody>
      </p:sp>
      <p:sp>
        <p:nvSpPr>
          <p:cNvPr id="7" name="Rectangle 6"/>
          <p:cNvSpPr/>
          <p:nvPr/>
        </p:nvSpPr>
        <p:spPr>
          <a:xfrm>
            <a:off x="5436915" y="4363514"/>
            <a:ext cx="2108511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Trebuchet MS" panose="020B0603020202020204"/>
              </a:rPr>
              <a:t>Predictive Qual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Defect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/>
              </a:rPr>
              <a:t>Scratch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Pattern continuity</a:t>
            </a:r>
          </a:p>
        </p:txBody>
      </p:sp>
      <p:sp>
        <p:nvSpPr>
          <p:cNvPr id="8" name="Rectangle 7"/>
          <p:cNvSpPr/>
          <p:nvPr/>
        </p:nvSpPr>
        <p:spPr>
          <a:xfrm>
            <a:off x="9014182" y="4363514"/>
            <a:ext cx="2011229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</a:rPr>
              <a:t>Retail Pack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Customer cou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Demographic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Object detection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967425" y="4413527"/>
            <a:ext cx="736666" cy="305568"/>
            <a:chOff x="4794135" y="1175357"/>
            <a:chExt cx="1238161" cy="513587"/>
          </a:xfrm>
          <a:solidFill>
            <a:schemeClr val="tx2"/>
          </a:solidFill>
        </p:grpSpPr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CC5B977C-3CC7-49AD-82C7-FA2DD016A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135" y="1175357"/>
              <a:ext cx="1238161" cy="513587"/>
            </a:xfrm>
            <a:custGeom>
              <a:avLst/>
              <a:gdLst>
                <a:gd name="T0" fmla="*/ 1601 w 2120"/>
                <a:gd name="T1" fmla="*/ 830 h 1060"/>
                <a:gd name="T2" fmla="*/ 1604 w 2120"/>
                <a:gd name="T3" fmla="*/ 874 h 1060"/>
                <a:gd name="T4" fmla="*/ 165 w 2120"/>
                <a:gd name="T5" fmla="*/ 874 h 1060"/>
                <a:gd name="T6" fmla="*/ 165 w 2120"/>
                <a:gd name="T7" fmla="*/ 852 h 1060"/>
                <a:gd name="T8" fmla="*/ 165 w 2120"/>
                <a:gd name="T9" fmla="*/ 830 h 1060"/>
                <a:gd name="T10" fmla="*/ 1601 w 2120"/>
                <a:gd name="T11" fmla="*/ 830 h 1060"/>
                <a:gd name="T12" fmla="*/ 2120 w 2120"/>
                <a:gd name="T13" fmla="*/ 1018 h 1060"/>
                <a:gd name="T14" fmla="*/ 2120 w 2120"/>
                <a:gd name="T15" fmla="*/ 1038 h 1060"/>
                <a:gd name="T16" fmla="*/ 2098 w 2120"/>
                <a:gd name="T17" fmla="*/ 1060 h 1060"/>
                <a:gd name="T18" fmla="*/ 101 w 2120"/>
                <a:gd name="T19" fmla="*/ 1060 h 1060"/>
                <a:gd name="T20" fmla="*/ 0 w 2120"/>
                <a:gd name="T21" fmla="*/ 959 h 1060"/>
                <a:gd name="T22" fmla="*/ 0 w 2120"/>
                <a:gd name="T23" fmla="*/ 931 h 1060"/>
                <a:gd name="T24" fmla="*/ 79 w 2120"/>
                <a:gd name="T25" fmla="*/ 833 h 1060"/>
                <a:gd name="T26" fmla="*/ 931 w 2120"/>
                <a:gd name="T27" fmla="*/ 0 h 1060"/>
                <a:gd name="T28" fmla="*/ 1474 w 2120"/>
                <a:gd name="T29" fmla="*/ 194 h 1060"/>
                <a:gd name="T30" fmla="*/ 1479 w 2120"/>
                <a:gd name="T31" fmla="*/ 223 h 1060"/>
                <a:gd name="T32" fmla="*/ 1445 w 2120"/>
                <a:gd name="T33" fmla="*/ 278 h 1060"/>
                <a:gd name="T34" fmla="*/ 1686 w 2120"/>
                <a:gd name="T35" fmla="*/ 808 h 1060"/>
                <a:gd name="T36" fmla="*/ 2003 w 2120"/>
                <a:gd name="T37" fmla="*/ 869 h 1060"/>
                <a:gd name="T38" fmla="*/ 2005 w 2120"/>
                <a:gd name="T39" fmla="*/ 869 h 1060"/>
                <a:gd name="T40" fmla="*/ 2120 w 2120"/>
                <a:gd name="T41" fmla="*/ 1018 h 1060"/>
                <a:gd name="T42" fmla="*/ 2076 w 2120"/>
                <a:gd name="T43" fmla="*/ 1016 h 1060"/>
                <a:gd name="T44" fmla="*/ 1994 w 2120"/>
                <a:gd name="T45" fmla="*/ 912 h 1060"/>
                <a:gd name="T46" fmla="*/ 1661 w 2120"/>
                <a:gd name="T47" fmla="*/ 848 h 1060"/>
                <a:gd name="T48" fmla="*/ 1643 w 2120"/>
                <a:gd name="T49" fmla="*/ 827 h 1060"/>
                <a:gd name="T50" fmla="*/ 1401 w 2120"/>
                <a:gd name="T51" fmla="*/ 296 h 1060"/>
                <a:gd name="T52" fmla="*/ 1400 w 2120"/>
                <a:gd name="T53" fmla="*/ 294 h 1060"/>
                <a:gd name="T54" fmla="*/ 939 w 2120"/>
                <a:gd name="T55" fmla="*/ 131 h 1060"/>
                <a:gd name="T56" fmla="*/ 939 w 2120"/>
                <a:gd name="T57" fmla="*/ 131 h 1060"/>
                <a:gd name="T58" fmla="*/ 533 w 2120"/>
                <a:gd name="T59" fmla="*/ 242 h 1060"/>
                <a:gd name="T60" fmla="*/ 512 w 2120"/>
                <a:gd name="T61" fmla="*/ 204 h 1060"/>
                <a:gd name="T62" fmla="*/ 939 w 2120"/>
                <a:gd name="T63" fmla="*/ 87 h 1060"/>
                <a:gd name="T64" fmla="*/ 939 w 2120"/>
                <a:gd name="T65" fmla="*/ 87 h 1060"/>
                <a:gd name="T66" fmla="*/ 1412 w 2120"/>
                <a:gd name="T67" fmla="*/ 248 h 1060"/>
                <a:gd name="T68" fmla="*/ 1431 w 2120"/>
                <a:gd name="T69" fmla="*/ 216 h 1060"/>
                <a:gd name="T70" fmla="*/ 931 w 2120"/>
                <a:gd name="T71" fmla="*/ 44 h 1060"/>
                <a:gd name="T72" fmla="*/ 123 w 2120"/>
                <a:gd name="T73" fmla="*/ 852 h 1060"/>
                <a:gd name="T74" fmla="*/ 101 w 2120"/>
                <a:gd name="T75" fmla="*/ 874 h 1060"/>
                <a:gd name="T76" fmla="*/ 44 w 2120"/>
                <a:gd name="T77" fmla="*/ 931 h 1060"/>
                <a:gd name="T78" fmla="*/ 44 w 2120"/>
                <a:gd name="T79" fmla="*/ 959 h 1060"/>
                <a:gd name="T80" fmla="*/ 101 w 2120"/>
                <a:gd name="T81" fmla="*/ 1016 h 1060"/>
                <a:gd name="T82" fmla="*/ 2076 w 2120"/>
                <a:gd name="T83" fmla="*/ 1016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20" h="1060">
                  <a:moveTo>
                    <a:pt x="1601" y="830"/>
                  </a:moveTo>
                  <a:cubicBezTo>
                    <a:pt x="1604" y="874"/>
                    <a:pt x="1604" y="874"/>
                    <a:pt x="1604" y="874"/>
                  </a:cubicBezTo>
                  <a:cubicBezTo>
                    <a:pt x="165" y="874"/>
                    <a:pt x="165" y="874"/>
                    <a:pt x="165" y="874"/>
                  </a:cubicBezTo>
                  <a:cubicBezTo>
                    <a:pt x="165" y="852"/>
                    <a:pt x="165" y="852"/>
                    <a:pt x="165" y="852"/>
                  </a:cubicBezTo>
                  <a:cubicBezTo>
                    <a:pt x="165" y="845"/>
                    <a:pt x="165" y="838"/>
                    <a:pt x="165" y="830"/>
                  </a:cubicBezTo>
                  <a:lnTo>
                    <a:pt x="1601" y="830"/>
                  </a:lnTo>
                  <a:close/>
                  <a:moveTo>
                    <a:pt x="2120" y="1018"/>
                  </a:moveTo>
                  <a:cubicBezTo>
                    <a:pt x="2120" y="1038"/>
                    <a:pt x="2120" y="1038"/>
                    <a:pt x="2120" y="1038"/>
                  </a:cubicBezTo>
                  <a:cubicBezTo>
                    <a:pt x="2120" y="1050"/>
                    <a:pt x="2110" y="1060"/>
                    <a:pt x="2098" y="1060"/>
                  </a:cubicBezTo>
                  <a:cubicBezTo>
                    <a:pt x="101" y="1060"/>
                    <a:pt x="101" y="1060"/>
                    <a:pt x="101" y="1060"/>
                  </a:cubicBezTo>
                  <a:cubicBezTo>
                    <a:pt x="45" y="1060"/>
                    <a:pt x="0" y="1015"/>
                    <a:pt x="0" y="959"/>
                  </a:cubicBezTo>
                  <a:cubicBezTo>
                    <a:pt x="0" y="931"/>
                    <a:pt x="0" y="931"/>
                    <a:pt x="0" y="931"/>
                  </a:cubicBezTo>
                  <a:cubicBezTo>
                    <a:pt x="0" y="883"/>
                    <a:pt x="34" y="843"/>
                    <a:pt x="79" y="833"/>
                  </a:cubicBezTo>
                  <a:cubicBezTo>
                    <a:pt x="89" y="371"/>
                    <a:pt x="468" y="0"/>
                    <a:pt x="931" y="0"/>
                  </a:cubicBezTo>
                  <a:cubicBezTo>
                    <a:pt x="1129" y="0"/>
                    <a:pt x="1322" y="69"/>
                    <a:pt x="1474" y="194"/>
                  </a:cubicBezTo>
                  <a:cubicBezTo>
                    <a:pt x="1482" y="201"/>
                    <a:pt x="1484" y="213"/>
                    <a:pt x="1479" y="223"/>
                  </a:cubicBezTo>
                  <a:cubicBezTo>
                    <a:pt x="1445" y="278"/>
                    <a:pt x="1445" y="278"/>
                    <a:pt x="1445" y="278"/>
                  </a:cubicBezTo>
                  <a:cubicBezTo>
                    <a:pt x="1588" y="432"/>
                    <a:pt x="1669" y="609"/>
                    <a:pt x="1686" y="808"/>
                  </a:cubicBezTo>
                  <a:cubicBezTo>
                    <a:pt x="2003" y="869"/>
                    <a:pt x="2003" y="869"/>
                    <a:pt x="2003" y="869"/>
                  </a:cubicBezTo>
                  <a:cubicBezTo>
                    <a:pt x="2004" y="869"/>
                    <a:pt x="2004" y="869"/>
                    <a:pt x="2005" y="869"/>
                  </a:cubicBezTo>
                  <a:cubicBezTo>
                    <a:pt x="2073" y="887"/>
                    <a:pt x="2120" y="948"/>
                    <a:pt x="2120" y="1018"/>
                  </a:cubicBezTo>
                  <a:close/>
                  <a:moveTo>
                    <a:pt x="2076" y="1016"/>
                  </a:moveTo>
                  <a:cubicBezTo>
                    <a:pt x="2075" y="967"/>
                    <a:pt x="2042" y="925"/>
                    <a:pt x="1994" y="912"/>
                  </a:cubicBezTo>
                  <a:cubicBezTo>
                    <a:pt x="1661" y="848"/>
                    <a:pt x="1661" y="848"/>
                    <a:pt x="1661" y="848"/>
                  </a:cubicBezTo>
                  <a:cubicBezTo>
                    <a:pt x="1651" y="846"/>
                    <a:pt x="1644" y="837"/>
                    <a:pt x="1643" y="827"/>
                  </a:cubicBezTo>
                  <a:cubicBezTo>
                    <a:pt x="1630" y="628"/>
                    <a:pt x="1549" y="449"/>
                    <a:pt x="1401" y="296"/>
                  </a:cubicBezTo>
                  <a:cubicBezTo>
                    <a:pt x="1401" y="296"/>
                    <a:pt x="1400" y="295"/>
                    <a:pt x="1400" y="294"/>
                  </a:cubicBezTo>
                  <a:cubicBezTo>
                    <a:pt x="1271" y="189"/>
                    <a:pt x="1108" y="131"/>
                    <a:pt x="939" y="131"/>
                  </a:cubicBezTo>
                  <a:cubicBezTo>
                    <a:pt x="939" y="131"/>
                    <a:pt x="939" y="131"/>
                    <a:pt x="939" y="131"/>
                  </a:cubicBezTo>
                  <a:cubicBezTo>
                    <a:pt x="800" y="131"/>
                    <a:pt x="660" y="169"/>
                    <a:pt x="533" y="242"/>
                  </a:cubicBezTo>
                  <a:cubicBezTo>
                    <a:pt x="512" y="204"/>
                    <a:pt x="512" y="204"/>
                    <a:pt x="512" y="204"/>
                  </a:cubicBezTo>
                  <a:cubicBezTo>
                    <a:pt x="645" y="127"/>
                    <a:pt x="793" y="87"/>
                    <a:pt x="939" y="87"/>
                  </a:cubicBezTo>
                  <a:cubicBezTo>
                    <a:pt x="939" y="87"/>
                    <a:pt x="939" y="87"/>
                    <a:pt x="939" y="87"/>
                  </a:cubicBezTo>
                  <a:cubicBezTo>
                    <a:pt x="1111" y="87"/>
                    <a:pt x="1277" y="144"/>
                    <a:pt x="1412" y="248"/>
                  </a:cubicBezTo>
                  <a:cubicBezTo>
                    <a:pt x="1431" y="216"/>
                    <a:pt x="1431" y="216"/>
                    <a:pt x="1431" y="216"/>
                  </a:cubicBezTo>
                  <a:cubicBezTo>
                    <a:pt x="1289" y="105"/>
                    <a:pt x="1113" y="44"/>
                    <a:pt x="931" y="44"/>
                  </a:cubicBezTo>
                  <a:cubicBezTo>
                    <a:pt x="485" y="44"/>
                    <a:pt x="123" y="406"/>
                    <a:pt x="123" y="852"/>
                  </a:cubicBezTo>
                  <a:cubicBezTo>
                    <a:pt x="123" y="864"/>
                    <a:pt x="113" y="874"/>
                    <a:pt x="101" y="874"/>
                  </a:cubicBezTo>
                  <a:cubicBezTo>
                    <a:pt x="69" y="874"/>
                    <a:pt x="44" y="900"/>
                    <a:pt x="44" y="931"/>
                  </a:cubicBezTo>
                  <a:cubicBezTo>
                    <a:pt x="44" y="959"/>
                    <a:pt x="44" y="959"/>
                    <a:pt x="44" y="959"/>
                  </a:cubicBezTo>
                  <a:cubicBezTo>
                    <a:pt x="44" y="991"/>
                    <a:pt x="69" y="1016"/>
                    <a:pt x="101" y="1016"/>
                  </a:cubicBezTo>
                  <a:lnTo>
                    <a:pt x="2076" y="10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E99C5D16-6F6A-4CE2-A4D1-A3C21F440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328" y="1259320"/>
              <a:ext cx="833857" cy="295287"/>
            </a:xfrm>
            <a:custGeom>
              <a:avLst/>
              <a:gdLst>
                <a:gd name="T0" fmla="*/ 1197 w 1428"/>
                <a:gd name="T1" fmla="*/ 610 h 610"/>
                <a:gd name="T2" fmla="*/ 715 w 1428"/>
                <a:gd name="T3" fmla="*/ 2 h 610"/>
                <a:gd name="T4" fmla="*/ 772 w 1428"/>
                <a:gd name="T5" fmla="*/ 0 h 610"/>
                <a:gd name="T6" fmla="*/ 772 w 1428"/>
                <a:gd name="T7" fmla="*/ 0 h 610"/>
                <a:gd name="T8" fmla="*/ 1198 w 1428"/>
                <a:gd name="T9" fmla="*/ 148 h 610"/>
                <a:gd name="T10" fmla="*/ 1203 w 1428"/>
                <a:gd name="T11" fmla="*/ 153 h 610"/>
                <a:gd name="T12" fmla="*/ 1428 w 1428"/>
                <a:gd name="T13" fmla="*/ 610 h 610"/>
                <a:gd name="T14" fmla="*/ 1197 w 1428"/>
                <a:gd name="T15" fmla="*/ 610 h 610"/>
                <a:gd name="T16" fmla="*/ 1092 w 1428"/>
                <a:gd name="T17" fmla="*/ 585 h 610"/>
                <a:gd name="T18" fmla="*/ 123 w 1428"/>
                <a:gd name="T19" fmla="*/ 521 h 610"/>
                <a:gd name="T20" fmla="*/ 122 w 1428"/>
                <a:gd name="T21" fmla="*/ 501 h 610"/>
                <a:gd name="T22" fmla="*/ 230 w 1428"/>
                <a:gd name="T23" fmla="*/ 136 h 610"/>
                <a:gd name="T24" fmla="*/ 180 w 1428"/>
                <a:gd name="T25" fmla="*/ 183 h 610"/>
                <a:gd name="T26" fmla="*/ 2 w 1428"/>
                <a:gd name="T27" fmla="*/ 586 h 610"/>
                <a:gd name="T28" fmla="*/ 2 w 1428"/>
                <a:gd name="T29" fmla="*/ 590 h 610"/>
                <a:gd name="T30" fmla="*/ 0 w 1428"/>
                <a:gd name="T31" fmla="*/ 610 h 610"/>
                <a:gd name="T32" fmla="*/ 133 w 1428"/>
                <a:gd name="T33" fmla="*/ 610 h 610"/>
                <a:gd name="T34" fmla="*/ 1096 w 1428"/>
                <a:gd name="T35" fmla="*/ 610 h 610"/>
                <a:gd name="T36" fmla="*/ 1092 w 1428"/>
                <a:gd name="T37" fmla="*/ 585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28" h="610">
                  <a:moveTo>
                    <a:pt x="1197" y="610"/>
                  </a:moveTo>
                  <a:cubicBezTo>
                    <a:pt x="1163" y="325"/>
                    <a:pt x="972" y="91"/>
                    <a:pt x="715" y="2"/>
                  </a:cubicBezTo>
                  <a:cubicBezTo>
                    <a:pt x="734" y="1"/>
                    <a:pt x="753" y="0"/>
                    <a:pt x="77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927" y="0"/>
                    <a:pt x="1078" y="52"/>
                    <a:pt x="1198" y="148"/>
                  </a:cubicBezTo>
                  <a:cubicBezTo>
                    <a:pt x="1203" y="153"/>
                    <a:pt x="1203" y="153"/>
                    <a:pt x="1203" y="153"/>
                  </a:cubicBezTo>
                  <a:cubicBezTo>
                    <a:pt x="1332" y="286"/>
                    <a:pt x="1407" y="440"/>
                    <a:pt x="1428" y="610"/>
                  </a:cubicBezTo>
                  <a:lnTo>
                    <a:pt x="1197" y="610"/>
                  </a:lnTo>
                  <a:close/>
                  <a:moveTo>
                    <a:pt x="1092" y="585"/>
                  </a:moveTo>
                  <a:cubicBezTo>
                    <a:pt x="123" y="521"/>
                    <a:pt x="123" y="521"/>
                    <a:pt x="123" y="521"/>
                  </a:cubicBezTo>
                  <a:cubicBezTo>
                    <a:pt x="122" y="515"/>
                    <a:pt x="122" y="508"/>
                    <a:pt x="122" y="501"/>
                  </a:cubicBezTo>
                  <a:cubicBezTo>
                    <a:pt x="122" y="362"/>
                    <a:pt x="140" y="234"/>
                    <a:pt x="230" y="136"/>
                  </a:cubicBezTo>
                  <a:cubicBezTo>
                    <a:pt x="212" y="151"/>
                    <a:pt x="196" y="166"/>
                    <a:pt x="180" y="183"/>
                  </a:cubicBezTo>
                  <a:cubicBezTo>
                    <a:pt x="85" y="294"/>
                    <a:pt x="21" y="433"/>
                    <a:pt x="2" y="586"/>
                  </a:cubicBezTo>
                  <a:cubicBezTo>
                    <a:pt x="2" y="588"/>
                    <a:pt x="2" y="589"/>
                    <a:pt x="2" y="590"/>
                  </a:cubicBezTo>
                  <a:cubicBezTo>
                    <a:pt x="1" y="597"/>
                    <a:pt x="0" y="603"/>
                    <a:pt x="0" y="610"/>
                  </a:cubicBezTo>
                  <a:cubicBezTo>
                    <a:pt x="133" y="610"/>
                    <a:pt x="133" y="610"/>
                    <a:pt x="133" y="610"/>
                  </a:cubicBezTo>
                  <a:cubicBezTo>
                    <a:pt x="1096" y="610"/>
                    <a:pt x="1096" y="610"/>
                    <a:pt x="1096" y="610"/>
                  </a:cubicBezTo>
                  <a:cubicBezTo>
                    <a:pt x="1094" y="602"/>
                    <a:pt x="1093" y="593"/>
                    <a:pt x="1092" y="5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569691" y="4559499"/>
            <a:ext cx="650881" cy="456616"/>
            <a:chOff x="5413216" y="1272655"/>
            <a:chExt cx="884451" cy="620474"/>
          </a:xfrm>
          <a:solidFill>
            <a:schemeClr val="tx2"/>
          </a:solidFill>
        </p:grpSpPr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52819" y="1272655"/>
              <a:ext cx="644848" cy="368674"/>
            </a:xfrm>
            <a:custGeom>
              <a:avLst/>
              <a:gdLst>
                <a:gd name="connsiteX0" fmla="*/ 20275 w 840917"/>
                <a:gd name="connsiteY0" fmla="*/ 256303 h 580108"/>
                <a:gd name="connsiteX1" fmla="*/ 200737 w 840917"/>
                <a:gd name="connsiteY1" fmla="*/ 256303 h 580108"/>
                <a:gd name="connsiteX2" fmla="*/ 218569 w 840917"/>
                <a:gd name="connsiteY2" fmla="*/ 265589 h 580108"/>
                <a:gd name="connsiteX3" fmla="*/ 274919 w 840917"/>
                <a:gd name="connsiteY3" fmla="*/ 412751 h 580108"/>
                <a:gd name="connsiteX4" fmla="*/ 159366 w 840917"/>
                <a:gd name="connsiteY4" fmla="*/ 407036 h 580108"/>
                <a:gd name="connsiteX5" fmla="*/ 16709 w 840917"/>
                <a:gd name="connsiteY5" fmla="*/ 264161 h 580108"/>
                <a:gd name="connsiteX6" fmla="*/ 20275 w 840917"/>
                <a:gd name="connsiteY6" fmla="*/ 256303 h 580108"/>
                <a:gd name="connsiteX7" fmla="*/ 651482 w 840917"/>
                <a:gd name="connsiteY7" fmla="*/ 255588 h 580108"/>
                <a:gd name="connsiteX8" fmla="*/ 824991 w 840917"/>
                <a:gd name="connsiteY8" fmla="*/ 256301 h 580108"/>
                <a:gd name="connsiteX9" fmla="*/ 828561 w 840917"/>
                <a:gd name="connsiteY9" fmla="*/ 264138 h 580108"/>
                <a:gd name="connsiteX10" fmla="*/ 514389 w 840917"/>
                <a:gd name="connsiteY10" fmla="*/ 578338 h 580108"/>
                <a:gd name="connsiteX11" fmla="*/ 506534 w 840917"/>
                <a:gd name="connsiteY11" fmla="*/ 574063 h 580108"/>
                <a:gd name="connsiteX12" fmla="*/ 506534 w 840917"/>
                <a:gd name="connsiteY12" fmla="*/ 573351 h 580108"/>
                <a:gd name="connsiteX13" fmla="*/ 617923 w 840917"/>
                <a:gd name="connsiteY13" fmla="*/ 278387 h 580108"/>
                <a:gd name="connsiteX14" fmla="*/ 651482 w 840917"/>
                <a:gd name="connsiteY14" fmla="*/ 255588 h 580108"/>
                <a:gd name="connsiteX15" fmla="*/ 268809 w 840917"/>
                <a:gd name="connsiteY15" fmla="*/ 255588 h 580108"/>
                <a:gd name="connsiteX16" fmla="*/ 574001 w 840917"/>
                <a:gd name="connsiteY16" fmla="*/ 255588 h 580108"/>
                <a:gd name="connsiteX17" fmla="*/ 578290 w 840917"/>
                <a:gd name="connsiteY17" fmla="*/ 262020 h 580108"/>
                <a:gd name="connsiteX18" fmla="*/ 497525 w 840917"/>
                <a:gd name="connsiteY18" fmla="*/ 477838 h 580108"/>
                <a:gd name="connsiteX19" fmla="*/ 405324 w 840917"/>
                <a:gd name="connsiteY19" fmla="*/ 419238 h 580108"/>
                <a:gd name="connsiteX20" fmla="*/ 321700 w 840917"/>
                <a:gd name="connsiteY20" fmla="*/ 414951 h 580108"/>
                <a:gd name="connsiteX21" fmla="*/ 264520 w 840917"/>
                <a:gd name="connsiteY21" fmla="*/ 262020 h 580108"/>
                <a:gd name="connsiteX22" fmla="*/ 268809 w 840917"/>
                <a:gd name="connsiteY22" fmla="*/ 255588 h 580108"/>
                <a:gd name="connsiteX23" fmla="*/ 375756 w 840917"/>
                <a:gd name="connsiteY23" fmla="*/ 1433 h 580108"/>
                <a:gd name="connsiteX24" fmla="*/ 466182 w 840917"/>
                <a:gd name="connsiteY24" fmla="*/ 1433 h 580108"/>
                <a:gd name="connsiteX25" fmla="*/ 486831 w 840917"/>
                <a:gd name="connsiteY25" fmla="*/ 12176 h 580108"/>
                <a:gd name="connsiteX26" fmla="*/ 575832 w 840917"/>
                <a:gd name="connsiteY26" fmla="*/ 205563 h 580108"/>
                <a:gd name="connsiteX27" fmla="*/ 571560 w 840917"/>
                <a:gd name="connsiteY27" fmla="*/ 212725 h 580108"/>
                <a:gd name="connsiteX28" fmla="*/ 271802 w 840917"/>
                <a:gd name="connsiteY28" fmla="*/ 212725 h 580108"/>
                <a:gd name="connsiteX29" fmla="*/ 267530 w 840917"/>
                <a:gd name="connsiteY29" fmla="*/ 205563 h 580108"/>
                <a:gd name="connsiteX30" fmla="*/ 357244 w 840917"/>
                <a:gd name="connsiteY30" fmla="*/ 10028 h 580108"/>
                <a:gd name="connsiteX31" fmla="*/ 375756 w 840917"/>
                <a:gd name="connsiteY31" fmla="*/ 1433 h 580108"/>
                <a:gd name="connsiteX32" fmla="*/ 535360 w 840917"/>
                <a:gd name="connsiteY32" fmla="*/ 0 h 580108"/>
                <a:gd name="connsiteX33" fmla="*/ 641992 w 840917"/>
                <a:gd name="connsiteY33" fmla="*/ 1434 h 580108"/>
                <a:gd name="connsiteX34" fmla="*/ 663461 w 840917"/>
                <a:gd name="connsiteY34" fmla="*/ 12185 h 580108"/>
                <a:gd name="connsiteX35" fmla="*/ 840226 w 840917"/>
                <a:gd name="connsiteY35" fmla="*/ 204278 h 580108"/>
                <a:gd name="connsiteX36" fmla="*/ 837363 w 840917"/>
                <a:gd name="connsiteY36" fmla="*/ 212163 h 580108"/>
                <a:gd name="connsiteX37" fmla="*/ 827344 w 840917"/>
                <a:gd name="connsiteY37" fmla="*/ 213596 h 580108"/>
                <a:gd name="connsiteX38" fmla="*/ 646285 w 840917"/>
                <a:gd name="connsiteY38" fmla="*/ 213596 h 580108"/>
                <a:gd name="connsiteX39" fmla="*/ 616228 w 840917"/>
                <a:gd name="connsiteY39" fmla="*/ 194960 h 580108"/>
                <a:gd name="connsiteX40" fmla="*/ 531066 w 840917"/>
                <a:gd name="connsiteY40" fmla="*/ 7168 h 580108"/>
                <a:gd name="connsiteX41" fmla="*/ 535360 w 840917"/>
                <a:gd name="connsiteY41" fmla="*/ 0 h 580108"/>
                <a:gd name="connsiteX42" fmla="*/ 308007 w 840917"/>
                <a:gd name="connsiteY42" fmla="*/ 0 h 580108"/>
                <a:gd name="connsiteX43" fmla="*/ 312303 w 840917"/>
                <a:gd name="connsiteY43" fmla="*/ 7163 h 580108"/>
                <a:gd name="connsiteX44" fmla="*/ 220654 w 840917"/>
                <a:gd name="connsiteY44" fmla="*/ 202698 h 580108"/>
                <a:gd name="connsiteX45" fmla="*/ 207050 w 840917"/>
                <a:gd name="connsiteY45" fmla="*/ 212725 h 580108"/>
                <a:gd name="connsiteX46" fmla="*/ 5138 w 840917"/>
                <a:gd name="connsiteY46" fmla="*/ 212725 h 580108"/>
                <a:gd name="connsiteX47" fmla="*/ 842 w 840917"/>
                <a:gd name="connsiteY47" fmla="*/ 204846 h 580108"/>
                <a:gd name="connsiteX48" fmla="*/ 71010 w 840917"/>
                <a:gd name="connsiteY48" fmla="*/ 128924 h 580108"/>
                <a:gd name="connsiteX49" fmla="*/ 176978 w 840917"/>
                <a:gd name="connsiteY49" fmla="*/ 13609 h 580108"/>
                <a:gd name="connsiteX50" fmla="*/ 200606 w 840917"/>
                <a:gd name="connsiteY50" fmla="*/ 1433 h 580108"/>
                <a:gd name="connsiteX51" fmla="*/ 308007 w 840917"/>
                <a:gd name="connsiteY51" fmla="*/ 0 h 58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840917" h="580108">
                  <a:moveTo>
                    <a:pt x="20275" y="256303"/>
                  </a:moveTo>
                  <a:cubicBezTo>
                    <a:pt x="78051" y="256303"/>
                    <a:pt x="139394" y="255588"/>
                    <a:pt x="200737" y="256303"/>
                  </a:cubicBezTo>
                  <a:cubicBezTo>
                    <a:pt x="206443" y="256303"/>
                    <a:pt x="217142" y="260589"/>
                    <a:pt x="218569" y="265589"/>
                  </a:cubicBezTo>
                  <a:cubicBezTo>
                    <a:pt x="237828" y="314167"/>
                    <a:pt x="255660" y="364173"/>
                    <a:pt x="274919" y="412751"/>
                  </a:cubicBezTo>
                  <a:cubicBezTo>
                    <a:pt x="274919" y="412751"/>
                    <a:pt x="274919" y="412751"/>
                    <a:pt x="159366" y="407036"/>
                  </a:cubicBezTo>
                  <a:cubicBezTo>
                    <a:pt x="112289" y="359173"/>
                    <a:pt x="64499" y="312024"/>
                    <a:pt x="16709" y="264161"/>
                  </a:cubicBezTo>
                  <a:cubicBezTo>
                    <a:pt x="14569" y="261303"/>
                    <a:pt x="15995" y="256303"/>
                    <a:pt x="20275" y="256303"/>
                  </a:cubicBezTo>
                  <a:close/>
                  <a:moveTo>
                    <a:pt x="651482" y="255588"/>
                  </a:moveTo>
                  <a:cubicBezTo>
                    <a:pt x="710032" y="256301"/>
                    <a:pt x="768583" y="256301"/>
                    <a:pt x="824991" y="256301"/>
                  </a:cubicBezTo>
                  <a:cubicBezTo>
                    <a:pt x="829275" y="256301"/>
                    <a:pt x="832131" y="261288"/>
                    <a:pt x="828561" y="264138"/>
                  </a:cubicBezTo>
                  <a:cubicBezTo>
                    <a:pt x="723599" y="368871"/>
                    <a:pt x="618637" y="475030"/>
                    <a:pt x="514389" y="578338"/>
                  </a:cubicBezTo>
                  <a:cubicBezTo>
                    <a:pt x="510818" y="582613"/>
                    <a:pt x="505106" y="578338"/>
                    <a:pt x="506534" y="574063"/>
                  </a:cubicBezTo>
                  <a:cubicBezTo>
                    <a:pt x="506534" y="573351"/>
                    <a:pt x="506534" y="573351"/>
                    <a:pt x="506534" y="573351"/>
                  </a:cubicBezTo>
                  <a:cubicBezTo>
                    <a:pt x="544378" y="475742"/>
                    <a:pt x="581507" y="376708"/>
                    <a:pt x="617923" y="278387"/>
                  </a:cubicBezTo>
                  <a:cubicBezTo>
                    <a:pt x="624349" y="260575"/>
                    <a:pt x="632917" y="255588"/>
                    <a:pt x="651482" y="255588"/>
                  </a:cubicBezTo>
                  <a:close/>
                  <a:moveTo>
                    <a:pt x="268809" y="255588"/>
                  </a:moveTo>
                  <a:cubicBezTo>
                    <a:pt x="268809" y="255588"/>
                    <a:pt x="268809" y="255588"/>
                    <a:pt x="574001" y="255588"/>
                  </a:cubicBezTo>
                  <a:cubicBezTo>
                    <a:pt x="577575" y="255588"/>
                    <a:pt x="579719" y="259161"/>
                    <a:pt x="578290" y="262020"/>
                  </a:cubicBezTo>
                  <a:cubicBezTo>
                    <a:pt x="551130" y="334197"/>
                    <a:pt x="523970" y="406375"/>
                    <a:pt x="497525" y="477838"/>
                  </a:cubicBezTo>
                  <a:cubicBezTo>
                    <a:pt x="479656" y="444965"/>
                    <a:pt x="445349" y="421382"/>
                    <a:pt x="405324" y="419238"/>
                  </a:cubicBezTo>
                  <a:cubicBezTo>
                    <a:pt x="405324" y="419238"/>
                    <a:pt x="405324" y="419238"/>
                    <a:pt x="321700" y="414951"/>
                  </a:cubicBezTo>
                  <a:cubicBezTo>
                    <a:pt x="315982" y="400658"/>
                    <a:pt x="302402" y="362783"/>
                    <a:pt x="264520" y="262020"/>
                  </a:cubicBezTo>
                  <a:cubicBezTo>
                    <a:pt x="263806" y="259161"/>
                    <a:pt x="265235" y="255588"/>
                    <a:pt x="268809" y="255588"/>
                  </a:cubicBezTo>
                  <a:close/>
                  <a:moveTo>
                    <a:pt x="375756" y="1433"/>
                  </a:moveTo>
                  <a:cubicBezTo>
                    <a:pt x="406373" y="0"/>
                    <a:pt x="436278" y="0"/>
                    <a:pt x="466182" y="1433"/>
                  </a:cubicBezTo>
                  <a:cubicBezTo>
                    <a:pt x="472590" y="1433"/>
                    <a:pt x="483270" y="6446"/>
                    <a:pt x="486831" y="12176"/>
                  </a:cubicBezTo>
                  <a:cubicBezTo>
                    <a:pt x="516735" y="75206"/>
                    <a:pt x="544504" y="139668"/>
                    <a:pt x="575832" y="205563"/>
                  </a:cubicBezTo>
                  <a:cubicBezTo>
                    <a:pt x="576544" y="209144"/>
                    <a:pt x="575120" y="212725"/>
                    <a:pt x="571560" y="212725"/>
                  </a:cubicBezTo>
                  <a:cubicBezTo>
                    <a:pt x="571560" y="212725"/>
                    <a:pt x="571560" y="212725"/>
                    <a:pt x="271802" y="212725"/>
                  </a:cubicBezTo>
                  <a:cubicBezTo>
                    <a:pt x="268242" y="212725"/>
                    <a:pt x="265394" y="209144"/>
                    <a:pt x="267530" y="205563"/>
                  </a:cubicBezTo>
                  <a:cubicBezTo>
                    <a:pt x="297435" y="138236"/>
                    <a:pt x="327339" y="73057"/>
                    <a:pt x="357244" y="10028"/>
                  </a:cubicBezTo>
                  <a:cubicBezTo>
                    <a:pt x="360092" y="4298"/>
                    <a:pt x="369348" y="1433"/>
                    <a:pt x="375756" y="1433"/>
                  </a:cubicBezTo>
                  <a:close/>
                  <a:moveTo>
                    <a:pt x="535360" y="0"/>
                  </a:moveTo>
                  <a:cubicBezTo>
                    <a:pt x="573289" y="0"/>
                    <a:pt x="607640" y="0"/>
                    <a:pt x="641992" y="1434"/>
                  </a:cubicBezTo>
                  <a:cubicBezTo>
                    <a:pt x="649148" y="1434"/>
                    <a:pt x="658451" y="6451"/>
                    <a:pt x="663461" y="12185"/>
                  </a:cubicBezTo>
                  <a:cubicBezTo>
                    <a:pt x="722144" y="74544"/>
                    <a:pt x="779396" y="139053"/>
                    <a:pt x="840226" y="204278"/>
                  </a:cubicBezTo>
                  <a:cubicBezTo>
                    <a:pt x="841657" y="206429"/>
                    <a:pt x="840942" y="212163"/>
                    <a:pt x="837363" y="212163"/>
                  </a:cubicBezTo>
                  <a:cubicBezTo>
                    <a:pt x="833069" y="212880"/>
                    <a:pt x="829491" y="213596"/>
                    <a:pt x="827344" y="213596"/>
                  </a:cubicBezTo>
                  <a:cubicBezTo>
                    <a:pt x="766514" y="213596"/>
                    <a:pt x="706400" y="212880"/>
                    <a:pt x="646285" y="213596"/>
                  </a:cubicBezTo>
                  <a:cubicBezTo>
                    <a:pt x="630541" y="214313"/>
                    <a:pt x="621953" y="209296"/>
                    <a:pt x="616228" y="194960"/>
                  </a:cubicBezTo>
                  <a:cubicBezTo>
                    <a:pt x="588318" y="134035"/>
                    <a:pt x="560408" y="72393"/>
                    <a:pt x="531066" y="7168"/>
                  </a:cubicBezTo>
                  <a:cubicBezTo>
                    <a:pt x="528919" y="4301"/>
                    <a:pt x="531782" y="0"/>
                    <a:pt x="535360" y="0"/>
                  </a:cubicBezTo>
                  <a:close/>
                  <a:moveTo>
                    <a:pt x="308007" y="0"/>
                  </a:moveTo>
                  <a:cubicBezTo>
                    <a:pt x="310871" y="0"/>
                    <a:pt x="313019" y="4298"/>
                    <a:pt x="312303" y="7163"/>
                  </a:cubicBezTo>
                  <a:cubicBezTo>
                    <a:pt x="280083" y="75206"/>
                    <a:pt x="250727" y="138952"/>
                    <a:pt x="220654" y="202698"/>
                  </a:cubicBezTo>
                  <a:cubicBezTo>
                    <a:pt x="219222" y="206995"/>
                    <a:pt x="212062" y="211293"/>
                    <a:pt x="207050" y="212725"/>
                  </a:cubicBezTo>
                  <a:cubicBezTo>
                    <a:pt x="141178" y="212725"/>
                    <a:pt x="76022" y="212725"/>
                    <a:pt x="5138" y="212725"/>
                  </a:cubicBezTo>
                  <a:cubicBezTo>
                    <a:pt x="842" y="212725"/>
                    <a:pt x="-1306" y="206995"/>
                    <a:pt x="842" y="204846"/>
                  </a:cubicBezTo>
                  <a:cubicBezTo>
                    <a:pt x="26618" y="177629"/>
                    <a:pt x="48098" y="153277"/>
                    <a:pt x="71010" y="128924"/>
                  </a:cubicBezTo>
                  <a:cubicBezTo>
                    <a:pt x="106094" y="89531"/>
                    <a:pt x="140462" y="51570"/>
                    <a:pt x="176978" y="13609"/>
                  </a:cubicBezTo>
                  <a:cubicBezTo>
                    <a:pt x="182706" y="7879"/>
                    <a:pt x="192014" y="1433"/>
                    <a:pt x="200606" y="1433"/>
                  </a:cubicBezTo>
                  <a:cubicBezTo>
                    <a:pt x="234259" y="0"/>
                    <a:pt x="268627" y="0"/>
                    <a:pt x="3080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413216" y="1549095"/>
              <a:ext cx="861802" cy="344034"/>
            </a:xfrm>
            <a:custGeom>
              <a:avLst/>
              <a:gdLst>
                <a:gd name="connsiteX0" fmla="*/ 409739 w 1123838"/>
                <a:gd name="connsiteY0" fmla="*/ 31588 h 541338"/>
                <a:gd name="connsiteX1" fmla="*/ 326138 w 1123838"/>
                <a:gd name="connsiteY1" fmla="*/ 51530 h 541338"/>
                <a:gd name="connsiteX2" fmla="*/ 31750 w 1123838"/>
                <a:gd name="connsiteY2" fmla="*/ 218189 h 541338"/>
                <a:gd name="connsiteX3" fmla="*/ 31750 w 1123838"/>
                <a:gd name="connsiteY3" fmla="*/ 501651 h 541338"/>
                <a:gd name="connsiteX4" fmla="*/ 368296 w 1123838"/>
                <a:gd name="connsiteY4" fmla="*/ 372028 h 541338"/>
                <a:gd name="connsiteX5" fmla="*/ 419028 w 1123838"/>
                <a:gd name="connsiteY5" fmla="*/ 364193 h 541338"/>
                <a:gd name="connsiteX6" fmla="*/ 568366 w 1123838"/>
                <a:gd name="connsiteY6" fmla="*/ 374876 h 541338"/>
                <a:gd name="connsiteX7" fmla="*/ 797017 w 1123838"/>
                <a:gd name="connsiteY7" fmla="*/ 348524 h 541338"/>
                <a:gd name="connsiteX8" fmla="*/ 1047818 w 1123838"/>
                <a:gd name="connsiteY8" fmla="*/ 182578 h 541338"/>
                <a:gd name="connsiteX9" fmla="*/ 1079972 w 1123838"/>
                <a:gd name="connsiteY9" fmla="*/ 145542 h 541338"/>
                <a:gd name="connsiteX10" fmla="*/ 1074971 w 1123838"/>
                <a:gd name="connsiteY10" fmla="*/ 71472 h 541338"/>
                <a:gd name="connsiteX11" fmla="*/ 1036386 w 1123838"/>
                <a:gd name="connsiteY11" fmla="*/ 57940 h 541338"/>
                <a:gd name="connsiteX12" fmla="*/ 999230 w 1123838"/>
                <a:gd name="connsiteY12" fmla="*/ 75745 h 541338"/>
                <a:gd name="connsiteX13" fmla="*/ 951356 w 1123838"/>
                <a:gd name="connsiteY13" fmla="*/ 129161 h 541338"/>
                <a:gd name="connsiteX14" fmla="*/ 805591 w 1123838"/>
                <a:gd name="connsiteY14" fmla="*/ 220325 h 541338"/>
                <a:gd name="connsiteX15" fmla="*/ 608380 w 1123838"/>
                <a:gd name="connsiteY15" fmla="*/ 209642 h 541338"/>
                <a:gd name="connsiteX16" fmla="*/ 553360 w 1123838"/>
                <a:gd name="connsiteY16" fmla="*/ 187563 h 541338"/>
                <a:gd name="connsiteX17" fmla="*/ 544071 w 1123838"/>
                <a:gd name="connsiteY17" fmla="*/ 171182 h 541338"/>
                <a:gd name="connsiteX18" fmla="*/ 557648 w 1123838"/>
                <a:gd name="connsiteY18" fmla="*/ 157650 h 541338"/>
                <a:gd name="connsiteX19" fmla="*/ 715560 w 1123838"/>
                <a:gd name="connsiteY19" fmla="*/ 141981 h 541338"/>
                <a:gd name="connsiteX20" fmla="*/ 759146 w 1123838"/>
                <a:gd name="connsiteY20" fmla="*/ 94975 h 541338"/>
                <a:gd name="connsiteX21" fmla="*/ 713416 w 1123838"/>
                <a:gd name="connsiteY21" fmla="*/ 47256 h 541338"/>
                <a:gd name="connsiteX22" fmla="*/ 409739 w 1123838"/>
                <a:gd name="connsiteY22" fmla="*/ 31588 h 541338"/>
                <a:gd name="connsiteX23" fmla="*/ 390213 w 1123838"/>
                <a:gd name="connsiteY23" fmla="*/ 0 h 541338"/>
                <a:gd name="connsiteX24" fmla="*/ 393072 w 1123838"/>
                <a:gd name="connsiteY24" fmla="*/ 0 h 541338"/>
                <a:gd name="connsiteX25" fmla="*/ 397360 w 1123838"/>
                <a:gd name="connsiteY25" fmla="*/ 0 h 541338"/>
                <a:gd name="connsiteX26" fmla="*/ 399504 w 1123838"/>
                <a:gd name="connsiteY26" fmla="*/ 0 h 541338"/>
                <a:gd name="connsiteX27" fmla="*/ 403077 w 1123838"/>
                <a:gd name="connsiteY27" fmla="*/ 0 h 541338"/>
                <a:gd name="connsiteX28" fmla="*/ 410939 w 1123838"/>
                <a:gd name="connsiteY28" fmla="*/ 0 h 541338"/>
                <a:gd name="connsiteX29" fmla="*/ 715390 w 1123838"/>
                <a:gd name="connsiteY29" fmla="*/ 15712 h 541338"/>
                <a:gd name="connsiteX30" fmla="*/ 780426 w 1123838"/>
                <a:gd name="connsiteY30" fmla="*/ 56419 h 541338"/>
                <a:gd name="connsiteX31" fmla="*/ 782570 w 1123838"/>
                <a:gd name="connsiteY31" fmla="*/ 60704 h 541338"/>
                <a:gd name="connsiteX32" fmla="*/ 789002 w 1123838"/>
                <a:gd name="connsiteY32" fmla="*/ 79273 h 541338"/>
                <a:gd name="connsiteX33" fmla="*/ 790431 w 1123838"/>
                <a:gd name="connsiteY33" fmla="*/ 94984 h 541338"/>
                <a:gd name="connsiteX34" fmla="*/ 789716 w 1123838"/>
                <a:gd name="connsiteY34" fmla="*/ 100698 h 541338"/>
                <a:gd name="connsiteX35" fmla="*/ 789716 w 1123838"/>
                <a:gd name="connsiteY35" fmla="*/ 101412 h 541338"/>
                <a:gd name="connsiteX36" fmla="*/ 789002 w 1123838"/>
                <a:gd name="connsiteY36" fmla="*/ 107125 h 541338"/>
                <a:gd name="connsiteX37" fmla="*/ 763988 w 1123838"/>
                <a:gd name="connsiteY37" fmla="*/ 154260 h 541338"/>
                <a:gd name="connsiteX38" fmla="*/ 763273 w 1123838"/>
                <a:gd name="connsiteY38" fmla="*/ 154260 h 541338"/>
                <a:gd name="connsiteX39" fmla="*/ 758985 w 1123838"/>
                <a:gd name="connsiteY39" fmla="*/ 157831 h 541338"/>
                <a:gd name="connsiteX40" fmla="*/ 754697 w 1123838"/>
                <a:gd name="connsiteY40" fmla="*/ 160688 h 541338"/>
                <a:gd name="connsiteX41" fmla="*/ 753983 w 1123838"/>
                <a:gd name="connsiteY41" fmla="*/ 161402 h 541338"/>
                <a:gd name="connsiteX42" fmla="*/ 749695 w 1123838"/>
                <a:gd name="connsiteY42" fmla="*/ 164258 h 541338"/>
                <a:gd name="connsiteX43" fmla="*/ 748265 w 1123838"/>
                <a:gd name="connsiteY43" fmla="*/ 164973 h 541338"/>
                <a:gd name="connsiteX44" fmla="*/ 743263 w 1123838"/>
                <a:gd name="connsiteY44" fmla="*/ 167115 h 541338"/>
                <a:gd name="connsiteX45" fmla="*/ 742548 w 1123838"/>
                <a:gd name="connsiteY45" fmla="*/ 167829 h 541338"/>
                <a:gd name="connsiteX46" fmla="*/ 738260 w 1123838"/>
                <a:gd name="connsiteY46" fmla="*/ 169258 h 541338"/>
                <a:gd name="connsiteX47" fmla="*/ 718964 w 1123838"/>
                <a:gd name="connsiteY47" fmla="*/ 173543 h 541338"/>
                <a:gd name="connsiteX48" fmla="*/ 624626 w 1123838"/>
                <a:gd name="connsiteY48" fmla="*/ 182827 h 541338"/>
                <a:gd name="connsiteX49" fmla="*/ 743263 w 1123838"/>
                <a:gd name="connsiteY49" fmla="*/ 199967 h 541338"/>
                <a:gd name="connsiteX50" fmla="*/ 774708 w 1123838"/>
                <a:gd name="connsiteY50" fmla="*/ 195682 h 541338"/>
                <a:gd name="connsiteX51" fmla="*/ 775423 w 1123838"/>
                <a:gd name="connsiteY51" fmla="*/ 195682 h 541338"/>
                <a:gd name="connsiteX52" fmla="*/ 785428 w 1123838"/>
                <a:gd name="connsiteY52" fmla="*/ 193539 h 541338"/>
                <a:gd name="connsiteX53" fmla="*/ 786858 w 1123838"/>
                <a:gd name="connsiteY53" fmla="*/ 192825 h 541338"/>
                <a:gd name="connsiteX54" fmla="*/ 796863 w 1123838"/>
                <a:gd name="connsiteY54" fmla="*/ 190683 h 541338"/>
                <a:gd name="connsiteX55" fmla="*/ 826880 w 1123838"/>
                <a:gd name="connsiteY55" fmla="*/ 179970 h 541338"/>
                <a:gd name="connsiteX56" fmla="*/ 909782 w 1123838"/>
                <a:gd name="connsiteY56" fmla="*/ 127122 h 541338"/>
                <a:gd name="connsiteX57" fmla="*/ 928363 w 1123838"/>
                <a:gd name="connsiteY57" fmla="*/ 108553 h 541338"/>
                <a:gd name="connsiteX58" fmla="*/ 975532 w 1123838"/>
                <a:gd name="connsiteY58" fmla="*/ 54991 h 541338"/>
                <a:gd name="connsiteX59" fmla="*/ 978391 w 1123838"/>
                <a:gd name="connsiteY59" fmla="*/ 51420 h 541338"/>
                <a:gd name="connsiteX60" fmla="*/ 979105 w 1123838"/>
                <a:gd name="connsiteY60" fmla="*/ 51420 h 541338"/>
                <a:gd name="connsiteX61" fmla="*/ 1034135 w 1123838"/>
                <a:gd name="connsiteY61" fmla="*/ 26424 h 541338"/>
                <a:gd name="connsiteX62" fmla="*/ 1034850 w 1123838"/>
                <a:gd name="connsiteY62" fmla="*/ 26424 h 541338"/>
                <a:gd name="connsiteX63" fmla="*/ 1039138 w 1123838"/>
                <a:gd name="connsiteY63" fmla="*/ 26424 h 541338"/>
                <a:gd name="connsiteX64" fmla="*/ 1040567 w 1123838"/>
                <a:gd name="connsiteY64" fmla="*/ 26424 h 541338"/>
                <a:gd name="connsiteX65" fmla="*/ 1079875 w 1123838"/>
                <a:gd name="connsiteY65" fmla="*/ 37137 h 541338"/>
                <a:gd name="connsiteX66" fmla="*/ 1083448 w 1123838"/>
                <a:gd name="connsiteY66" fmla="*/ 39279 h 541338"/>
                <a:gd name="connsiteX67" fmla="*/ 1086307 w 1123838"/>
                <a:gd name="connsiteY67" fmla="*/ 40708 h 541338"/>
                <a:gd name="connsiteX68" fmla="*/ 1087021 w 1123838"/>
                <a:gd name="connsiteY68" fmla="*/ 41422 h 541338"/>
                <a:gd name="connsiteX69" fmla="*/ 1089880 w 1123838"/>
                <a:gd name="connsiteY69" fmla="*/ 43564 h 541338"/>
                <a:gd name="connsiteX70" fmla="*/ 1090595 w 1123838"/>
                <a:gd name="connsiteY70" fmla="*/ 44278 h 541338"/>
                <a:gd name="connsiteX71" fmla="*/ 1092739 w 1123838"/>
                <a:gd name="connsiteY71" fmla="*/ 45707 h 541338"/>
                <a:gd name="connsiteX72" fmla="*/ 1095597 w 1123838"/>
                <a:gd name="connsiteY72" fmla="*/ 47849 h 541338"/>
                <a:gd name="connsiteX73" fmla="*/ 1095597 w 1123838"/>
                <a:gd name="connsiteY73" fmla="*/ 48563 h 541338"/>
                <a:gd name="connsiteX74" fmla="*/ 1103459 w 1123838"/>
                <a:gd name="connsiteY74" fmla="*/ 165687 h 541338"/>
                <a:gd name="connsiteX75" fmla="*/ 1072013 w 1123838"/>
                <a:gd name="connsiteY75" fmla="*/ 203538 h 541338"/>
                <a:gd name="connsiteX76" fmla="*/ 966241 w 1123838"/>
                <a:gd name="connsiteY76" fmla="*/ 299950 h 541338"/>
                <a:gd name="connsiteX77" fmla="*/ 956950 w 1123838"/>
                <a:gd name="connsiteY77" fmla="*/ 306377 h 541338"/>
                <a:gd name="connsiteX78" fmla="*/ 948374 w 1123838"/>
                <a:gd name="connsiteY78" fmla="*/ 312091 h 541338"/>
                <a:gd name="connsiteX79" fmla="*/ 806154 w 1123838"/>
                <a:gd name="connsiteY79" fmla="*/ 379222 h 541338"/>
                <a:gd name="connsiteX80" fmla="*/ 792575 w 1123838"/>
                <a:gd name="connsiteY80" fmla="*/ 383507 h 541338"/>
                <a:gd name="connsiteX81" fmla="*/ 788287 w 1123838"/>
                <a:gd name="connsiteY81" fmla="*/ 384222 h 541338"/>
                <a:gd name="connsiteX82" fmla="*/ 779711 w 1123838"/>
                <a:gd name="connsiteY82" fmla="*/ 387078 h 541338"/>
                <a:gd name="connsiteX83" fmla="*/ 773994 w 1123838"/>
                <a:gd name="connsiteY83" fmla="*/ 388507 h 541338"/>
                <a:gd name="connsiteX84" fmla="*/ 766132 w 1123838"/>
                <a:gd name="connsiteY84" fmla="*/ 389935 h 541338"/>
                <a:gd name="connsiteX85" fmla="*/ 759700 w 1123838"/>
                <a:gd name="connsiteY85" fmla="*/ 392077 h 541338"/>
                <a:gd name="connsiteX86" fmla="*/ 753983 w 1123838"/>
                <a:gd name="connsiteY86" fmla="*/ 392792 h 541338"/>
                <a:gd name="connsiteX87" fmla="*/ 723966 w 1123838"/>
                <a:gd name="connsiteY87" fmla="*/ 399219 h 541338"/>
                <a:gd name="connsiteX88" fmla="*/ 721822 w 1123838"/>
                <a:gd name="connsiteY88" fmla="*/ 399219 h 541338"/>
                <a:gd name="connsiteX89" fmla="*/ 711102 w 1123838"/>
                <a:gd name="connsiteY89" fmla="*/ 401362 h 541338"/>
                <a:gd name="connsiteX90" fmla="*/ 709673 w 1123838"/>
                <a:gd name="connsiteY90" fmla="*/ 401362 h 541338"/>
                <a:gd name="connsiteX91" fmla="*/ 650355 w 1123838"/>
                <a:gd name="connsiteY91" fmla="*/ 407789 h 541338"/>
                <a:gd name="connsiteX92" fmla="*/ 648211 w 1123838"/>
                <a:gd name="connsiteY92" fmla="*/ 407789 h 541338"/>
                <a:gd name="connsiteX93" fmla="*/ 637491 w 1123838"/>
                <a:gd name="connsiteY93" fmla="*/ 408503 h 541338"/>
                <a:gd name="connsiteX94" fmla="*/ 635347 w 1123838"/>
                <a:gd name="connsiteY94" fmla="*/ 408503 h 541338"/>
                <a:gd name="connsiteX95" fmla="*/ 621053 w 1123838"/>
                <a:gd name="connsiteY95" fmla="*/ 408503 h 541338"/>
                <a:gd name="connsiteX96" fmla="*/ 619624 w 1123838"/>
                <a:gd name="connsiteY96" fmla="*/ 408503 h 541338"/>
                <a:gd name="connsiteX97" fmla="*/ 612477 w 1123838"/>
                <a:gd name="connsiteY97" fmla="*/ 408503 h 541338"/>
                <a:gd name="connsiteX98" fmla="*/ 606045 w 1123838"/>
                <a:gd name="connsiteY98" fmla="*/ 408503 h 541338"/>
                <a:gd name="connsiteX99" fmla="*/ 598898 w 1123838"/>
                <a:gd name="connsiteY99" fmla="*/ 408503 h 541338"/>
                <a:gd name="connsiteX100" fmla="*/ 592466 w 1123838"/>
                <a:gd name="connsiteY100" fmla="*/ 408503 h 541338"/>
                <a:gd name="connsiteX101" fmla="*/ 584605 w 1123838"/>
                <a:gd name="connsiteY101" fmla="*/ 407789 h 541338"/>
                <a:gd name="connsiteX102" fmla="*/ 578887 w 1123838"/>
                <a:gd name="connsiteY102" fmla="*/ 407789 h 541338"/>
                <a:gd name="connsiteX103" fmla="*/ 566738 w 1123838"/>
                <a:gd name="connsiteY103" fmla="*/ 407075 h 541338"/>
                <a:gd name="connsiteX104" fmla="*/ 566023 w 1123838"/>
                <a:gd name="connsiteY104" fmla="*/ 407075 h 541338"/>
                <a:gd name="connsiteX105" fmla="*/ 485265 w 1123838"/>
                <a:gd name="connsiteY105" fmla="*/ 401362 h 541338"/>
                <a:gd name="connsiteX106" fmla="*/ 416656 w 1123838"/>
                <a:gd name="connsiteY106" fmla="*/ 396362 h 541338"/>
                <a:gd name="connsiteX107" fmla="*/ 410939 w 1123838"/>
                <a:gd name="connsiteY107" fmla="*/ 396362 h 541338"/>
                <a:gd name="connsiteX108" fmla="*/ 407365 w 1123838"/>
                <a:gd name="connsiteY108" fmla="*/ 396362 h 541338"/>
                <a:gd name="connsiteX109" fmla="*/ 393072 w 1123838"/>
                <a:gd name="connsiteY109" fmla="*/ 397791 h 541338"/>
                <a:gd name="connsiteX110" fmla="*/ 388784 w 1123838"/>
                <a:gd name="connsiteY110" fmla="*/ 398505 h 541338"/>
                <a:gd name="connsiteX111" fmla="*/ 388784 w 1123838"/>
                <a:gd name="connsiteY111" fmla="*/ 399219 h 541338"/>
                <a:gd name="connsiteX112" fmla="*/ 384496 w 1123838"/>
                <a:gd name="connsiteY112" fmla="*/ 399933 h 541338"/>
                <a:gd name="connsiteX113" fmla="*/ 383781 w 1123838"/>
                <a:gd name="connsiteY113" fmla="*/ 400647 h 541338"/>
                <a:gd name="connsiteX114" fmla="*/ 379493 w 1123838"/>
                <a:gd name="connsiteY114" fmla="*/ 402076 h 541338"/>
                <a:gd name="connsiteX115" fmla="*/ 21441 w 1123838"/>
                <a:gd name="connsiteY115" fmla="*/ 540624 h 541338"/>
                <a:gd name="connsiteX116" fmla="*/ 15723 w 1123838"/>
                <a:gd name="connsiteY116" fmla="*/ 541338 h 541338"/>
                <a:gd name="connsiteX117" fmla="*/ 7147 w 1123838"/>
                <a:gd name="connsiteY117" fmla="*/ 538481 h 541338"/>
                <a:gd name="connsiteX118" fmla="*/ 0 w 1123838"/>
                <a:gd name="connsiteY118" fmla="*/ 525626 h 541338"/>
                <a:gd name="connsiteX119" fmla="*/ 0 w 1123838"/>
                <a:gd name="connsiteY119" fmla="*/ 209251 h 541338"/>
                <a:gd name="connsiteX120" fmla="*/ 7862 w 1123838"/>
                <a:gd name="connsiteY120" fmla="*/ 195682 h 541338"/>
                <a:gd name="connsiteX121" fmla="*/ 310169 w 1123838"/>
                <a:gd name="connsiteY121" fmla="*/ 24282 h 541338"/>
                <a:gd name="connsiteX122" fmla="*/ 315887 w 1123838"/>
                <a:gd name="connsiteY122" fmla="*/ 21425 h 541338"/>
                <a:gd name="connsiteX123" fmla="*/ 318031 w 1123838"/>
                <a:gd name="connsiteY123" fmla="*/ 19997 h 541338"/>
                <a:gd name="connsiteX124" fmla="*/ 320889 w 1123838"/>
                <a:gd name="connsiteY124" fmla="*/ 18568 h 541338"/>
                <a:gd name="connsiteX125" fmla="*/ 324463 w 1123838"/>
                <a:gd name="connsiteY125" fmla="*/ 17140 h 541338"/>
                <a:gd name="connsiteX126" fmla="*/ 326607 w 1123838"/>
                <a:gd name="connsiteY126" fmla="*/ 15712 h 541338"/>
                <a:gd name="connsiteX127" fmla="*/ 330180 w 1123838"/>
                <a:gd name="connsiteY127" fmla="*/ 14283 h 541338"/>
                <a:gd name="connsiteX128" fmla="*/ 332324 w 1123838"/>
                <a:gd name="connsiteY128" fmla="*/ 13569 h 541338"/>
                <a:gd name="connsiteX129" fmla="*/ 336612 w 1123838"/>
                <a:gd name="connsiteY129" fmla="*/ 12141 h 541338"/>
                <a:gd name="connsiteX130" fmla="*/ 338042 w 1123838"/>
                <a:gd name="connsiteY130" fmla="*/ 11427 h 541338"/>
                <a:gd name="connsiteX131" fmla="*/ 342330 w 1123838"/>
                <a:gd name="connsiteY131" fmla="*/ 9998 h 541338"/>
                <a:gd name="connsiteX132" fmla="*/ 343759 w 1123838"/>
                <a:gd name="connsiteY132" fmla="*/ 9284 h 541338"/>
                <a:gd name="connsiteX133" fmla="*/ 348047 w 1123838"/>
                <a:gd name="connsiteY133" fmla="*/ 7856 h 541338"/>
                <a:gd name="connsiteX134" fmla="*/ 349476 w 1123838"/>
                <a:gd name="connsiteY134" fmla="*/ 7856 h 541338"/>
                <a:gd name="connsiteX135" fmla="*/ 354479 w 1123838"/>
                <a:gd name="connsiteY135" fmla="*/ 6428 h 541338"/>
                <a:gd name="connsiteX136" fmla="*/ 354479 w 1123838"/>
                <a:gd name="connsiteY136" fmla="*/ 5713 h 541338"/>
                <a:gd name="connsiteX137" fmla="*/ 381637 w 1123838"/>
                <a:gd name="connsiteY137" fmla="*/ 1428 h 541338"/>
                <a:gd name="connsiteX138" fmla="*/ 383781 w 1123838"/>
                <a:gd name="connsiteY138" fmla="*/ 714 h 541338"/>
                <a:gd name="connsiteX139" fmla="*/ 387354 w 1123838"/>
                <a:gd name="connsiteY139" fmla="*/ 714 h 541338"/>
                <a:gd name="connsiteX140" fmla="*/ 390213 w 1123838"/>
                <a:gd name="connsiteY140" fmla="*/ 0 h 5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123838" h="541338">
                  <a:moveTo>
                    <a:pt x="409739" y="31588"/>
                  </a:moveTo>
                  <a:cubicBezTo>
                    <a:pt x="380443" y="30163"/>
                    <a:pt x="351147" y="37285"/>
                    <a:pt x="326138" y="51530"/>
                  </a:cubicBezTo>
                  <a:cubicBezTo>
                    <a:pt x="326138" y="51530"/>
                    <a:pt x="326138" y="51530"/>
                    <a:pt x="31750" y="218189"/>
                  </a:cubicBezTo>
                  <a:cubicBezTo>
                    <a:pt x="31750" y="218189"/>
                    <a:pt x="31750" y="218189"/>
                    <a:pt x="31750" y="501651"/>
                  </a:cubicBezTo>
                  <a:cubicBezTo>
                    <a:pt x="31750" y="501651"/>
                    <a:pt x="31750" y="501651"/>
                    <a:pt x="368296" y="372028"/>
                  </a:cubicBezTo>
                  <a:cubicBezTo>
                    <a:pt x="384730" y="365618"/>
                    <a:pt x="401879" y="362769"/>
                    <a:pt x="419028" y="364193"/>
                  </a:cubicBezTo>
                  <a:cubicBezTo>
                    <a:pt x="419028" y="364193"/>
                    <a:pt x="419028" y="364193"/>
                    <a:pt x="568366" y="374876"/>
                  </a:cubicBezTo>
                  <a:cubicBezTo>
                    <a:pt x="645535" y="380574"/>
                    <a:pt x="722705" y="371315"/>
                    <a:pt x="797017" y="348524"/>
                  </a:cubicBezTo>
                  <a:cubicBezTo>
                    <a:pt x="894908" y="317899"/>
                    <a:pt x="981367" y="260922"/>
                    <a:pt x="1047818" y="182578"/>
                  </a:cubicBezTo>
                  <a:cubicBezTo>
                    <a:pt x="1047818" y="182578"/>
                    <a:pt x="1047818" y="182578"/>
                    <a:pt x="1079972" y="145542"/>
                  </a:cubicBezTo>
                  <a:cubicBezTo>
                    <a:pt x="1098550" y="123464"/>
                    <a:pt x="1096407" y="90702"/>
                    <a:pt x="1074971" y="71472"/>
                  </a:cubicBezTo>
                  <a:cubicBezTo>
                    <a:pt x="1064253" y="62213"/>
                    <a:pt x="1050676" y="57227"/>
                    <a:pt x="1036386" y="57940"/>
                  </a:cubicBezTo>
                  <a:cubicBezTo>
                    <a:pt x="1022095" y="58652"/>
                    <a:pt x="1008519" y="65062"/>
                    <a:pt x="999230" y="75745"/>
                  </a:cubicBezTo>
                  <a:cubicBezTo>
                    <a:pt x="999230" y="75745"/>
                    <a:pt x="999230" y="75745"/>
                    <a:pt x="951356" y="129161"/>
                  </a:cubicBezTo>
                  <a:cubicBezTo>
                    <a:pt x="912771" y="173319"/>
                    <a:pt x="862039" y="204656"/>
                    <a:pt x="805591" y="220325"/>
                  </a:cubicBezTo>
                  <a:cubicBezTo>
                    <a:pt x="740568" y="238843"/>
                    <a:pt x="670544" y="234570"/>
                    <a:pt x="608380" y="209642"/>
                  </a:cubicBezTo>
                  <a:cubicBezTo>
                    <a:pt x="608380" y="209642"/>
                    <a:pt x="608380" y="209642"/>
                    <a:pt x="553360" y="187563"/>
                  </a:cubicBezTo>
                  <a:cubicBezTo>
                    <a:pt x="546930" y="184714"/>
                    <a:pt x="542642" y="178304"/>
                    <a:pt x="544071" y="171182"/>
                  </a:cubicBezTo>
                  <a:cubicBezTo>
                    <a:pt x="544786" y="164060"/>
                    <a:pt x="550502" y="158362"/>
                    <a:pt x="557648" y="157650"/>
                  </a:cubicBezTo>
                  <a:cubicBezTo>
                    <a:pt x="557648" y="157650"/>
                    <a:pt x="557648" y="157650"/>
                    <a:pt x="715560" y="141981"/>
                  </a:cubicBezTo>
                  <a:cubicBezTo>
                    <a:pt x="740568" y="139845"/>
                    <a:pt x="759146" y="119190"/>
                    <a:pt x="759146" y="94975"/>
                  </a:cubicBezTo>
                  <a:cubicBezTo>
                    <a:pt x="759146" y="69335"/>
                    <a:pt x="739139" y="48681"/>
                    <a:pt x="713416" y="47256"/>
                  </a:cubicBezTo>
                  <a:cubicBezTo>
                    <a:pt x="713416" y="47256"/>
                    <a:pt x="713416" y="47256"/>
                    <a:pt x="409739" y="31588"/>
                  </a:cubicBezTo>
                  <a:close/>
                  <a:moveTo>
                    <a:pt x="390213" y="0"/>
                  </a:moveTo>
                  <a:cubicBezTo>
                    <a:pt x="391642" y="0"/>
                    <a:pt x="392357" y="0"/>
                    <a:pt x="393072" y="0"/>
                  </a:cubicBezTo>
                  <a:cubicBezTo>
                    <a:pt x="394501" y="0"/>
                    <a:pt x="395930" y="0"/>
                    <a:pt x="397360" y="0"/>
                  </a:cubicBezTo>
                  <a:cubicBezTo>
                    <a:pt x="398074" y="0"/>
                    <a:pt x="398789" y="0"/>
                    <a:pt x="399504" y="0"/>
                  </a:cubicBezTo>
                  <a:cubicBezTo>
                    <a:pt x="400933" y="0"/>
                    <a:pt x="401648" y="0"/>
                    <a:pt x="403077" y="0"/>
                  </a:cubicBezTo>
                  <a:cubicBezTo>
                    <a:pt x="405936" y="0"/>
                    <a:pt x="408794" y="0"/>
                    <a:pt x="410939" y="0"/>
                  </a:cubicBezTo>
                  <a:cubicBezTo>
                    <a:pt x="410939" y="0"/>
                    <a:pt x="410939" y="0"/>
                    <a:pt x="715390" y="15712"/>
                  </a:cubicBezTo>
                  <a:cubicBezTo>
                    <a:pt x="743263" y="17140"/>
                    <a:pt x="766847" y="33566"/>
                    <a:pt x="780426" y="56419"/>
                  </a:cubicBezTo>
                  <a:cubicBezTo>
                    <a:pt x="781140" y="57848"/>
                    <a:pt x="781855" y="59276"/>
                    <a:pt x="782570" y="60704"/>
                  </a:cubicBezTo>
                  <a:cubicBezTo>
                    <a:pt x="785428" y="66418"/>
                    <a:pt x="787572" y="72845"/>
                    <a:pt x="789002" y="79273"/>
                  </a:cubicBezTo>
                  <a:cubicBezTo>
                    <a:pt x="789716" y="84272"/>
                    <a:pt x="790431" y="89271"/>
                    <a:pt x="790431" y="94984"/>
                  </a:cubicBezTo>
                  <a:cubicBezTo>
                    <a:pt x="790431" y="97127"/>
                    <a:pt x="790431" y="98555"/>
                    <a:pt x="789716" y="100698"/>
                  </a:cubicBezTo>
                  <a:cubicBezTo>
                    <a:pt x="789716" y="100698"/>
                    <a:pt x="789716" y="101412"/>
                    <a:pt x="789716" y="101412"/>
                  </a:cubicBezTo>
                  <a:cubicBezTo>
                    <a:pt x="789716" y="103554"/>
                    <a:pt x="789716" y="104983"/>
                    <a:pt x="789002" y="107125"/>
                  </a:cubicBezTo>
                  <a:cubicBezTo>
                    <a:pt x="786143" y="125693"/>
                    <a:pt x="776852" y="142119"/>
                    <a:pt x="763988" y="154260"/>
                  </a:cubicBezTo>
                  <a:cubicBezTo>
                    <a:pt x="763988" y="154260"/>
                    <a:pt x="763273" y="154260"/>
                    <a:pt x="763273" y="154260"/>
                  </a:cubicBezTo>
                  <a:cubicBezTo>
                    <a:pt x="761844" y="155688"/>
                    <a:pt x="760415" y="156403"/>
                    <a:pt x="758985" y="157831"/>
                  </a:cubicBezTo>
                  <a:cubicBezTo>
                    <a:pt x="757556" y="159259"/>
                    <a:pt x="756127" y="159973"/>
                    <a:pt x="754697" y="160688"/>
                  </a:cubicBezTo>
                  <a:cubicBezTo>
                    <a:pt x="753983" y="161402"/>
                    <a:pt x="753983" y="161402"/>
                    <a:pt x="753983" y="161402"/>
                  </a:cubicBezTo>
                  <a:cubicBezTo>
                    <a:pt x="752553" y="162116"/>
                    <a:pt x="751124" y="163544"/>
                    <a:pt x="749695" y="164258"/>
                  </a:cubicBezTo>
                  <a:cubicBezTo>
                    <a:pt x="748980" y="164258"/>
                    <a:pt x="748265" y="164258"/>
                    <a:pt x="748265" y="164973"/>
                  </a:cubicBezTo>
                  <a:cubicBezTo>
                    <a:pt x="746836" y="165687"/>
                    <a:pt x="745407" y="166401"/>
                    <a:pt x="743263" y="167115"/>
                  </a:cubicBezTo>
                  <a:cubicBezTo>
                    <a:pt x="743263" y="167115"/>
                    <a:pt x="742548" y="167115"/>
                    <a:pt x="742548" y="167829"/>
                  </a:cubicBezTo>
                  <a:cubicBezTo>
                    <a:pt x="741118" y="167829"/>
                    <a:pt x="739689" y="168543"/>
                    <a:pt x="738260" y="169258"/>
                  </a:cubicBezTo>
                  <a:cubicBezTo>
                    <a:pt x="731828" y="171400"/>
                    <a:pt x="725396" y="172828"/>
                    <a:pt x="718964" y="173543"/>
                  </a:cubicBezTo>
                  <a:cubicBezTo>
                    <a:pt x="718964" y="173543"/>
                    <a:pt x="718964" y="173543"/>
                    <a:pt x="624626" y="182827"/>
                  </a:cubicBezTo>
                  <a:cubicBezTo>
                    <a:pt x="662504" y="197110"/>
                    <a:pt x="703241" y="202823"/>
                    <a:pt x="743263" y="199967"/>
                  </a:cubicBezTo>
                  <a:cubicBezTo>
                    <a:pt x="753983" y="199253"/>
                    <a:pt x="764703" y="197824"/>
                    <a:pt x="774708" y="195682"/>
                  </a:cubicBezTo>
                  <a:cubicBezTo>
                    <a:pt x="775423" y="195682"/>
                    <a:pt x="775423" y="195682"/>
                    <a:pt x="775423" y="195682"/>
                  </a:cubicBezTo>
                  <a:cubicBezTo>
                    <a:pt x="778996" y="194968"/>
                    <a:pt x="781855" y="194253"/>
                    <a:pt x="785428" y="193539"/>
                  </a:cubicBezTo>
                  <a:cubicBezTo>
                    <a:pt x="786143" y="193539"/>
                    <a:pt x="786143" y="193539"/>
                    <a:pt x="786858" y="192825"/>
                  </a:cubicBezTo>
                  <a:cubicBezTo>
                    <a:pt x="790431" y="192111"/>
                    <a:pt x="793290" y="191397"/>
                    <a:pt x="796863" y="190683"/>
                  </a:cubicBezTo>
                  <a:cubicBezTo>
                    <a:pt x="806869" y="187826"/>
                    <a:pt x="816874" y="184255"/>
                    <a:pt x="826880" y="179970"/>
                  </a:cubicBezTo>
                  <a:cubicBezTo>
                    <a:pt x="857611" y="167829"/>
                    <a:pt x="885483" y="149975"/>
                    <a:pt x="909782" y="127122"/>
                  </a:cubicBezTo>
                  <a:cubicBezTo>
                    <a:pt x="916214" y="121408"/>
                    <a:pt x="921931" y="114981"/>
                    <a:pt x="928363" y="108553"/>
                  </a:cubicBezTo>
                  <a:cubicBezTo>
                    <a:pt x="928363" y="108553"/>
                    <a:pt x="928363" y="108553"/>
                    <a:pt x="975532" y="54991"/>
                  </a:cubicBezTo>
                  <a:cubicBezTo>
                    <a:pt x="976961" y="53563"/>
                    <a:pt x="977676" y="52848"/>
                    <a:pt x="978391" y="51420"/>
                  </a:cubicBezTo>
                  <a:cubicBezTo>
                    <a:pt x="979105" y="51420"/>
                    <a:pt x="979105" y="51420"/>
                    <a:pt x="979105" y="51420"/>
                  </a:cubicBezTo>
                  <a:cubicBezTo>
                    <a:pt x="994114" y="36423"/>
                    <a:pt x="1013410" y="27853"/>
                    <a:pt x="1034135" y="26424"/>
                  </a:cubicBezTo>
                  <a:cubicBezTo>
                    <a:pt x="1034850" y="26424"/>
                    <a:pt x="1034850" y="26424"/>
                    <a:pt x="1034850" y="26424"/>
                  </a:cubicBezTo>
                  <a:cubicBezTo>
                    <a:pt x="1036279" y="26424"/>
                    <a:pt x="1037709" y="26424"/>
                    <a:pt x="1039138" y="26424"/>
                  </a:cubicBezTo>
                  <a:cubicBezTo>
                    <a:pt x="1039138" y="26424"/>
                    <a:pt x="1039853" y="26424"/>
                    <a:pt x="1040567" y="26424"/>
                  </a:cubicBezTo>
                  <a:cubicBezTo>
                    <a:pt x="1054146" y="26424"/>
                    <a:pt x="1067725" y="30709"/>
                    <a:pt x="1079875" y="37137"/>
                  </a:cubicBezTo>
                  <a:cubicBezTo>
                    <a:pt x="1081304" y="37851"/>
                    <a:pt x="1082019" y="38565"/>
                    <a:pt x="1083448" y="39279"/>
                  </a:cubicBezTo>
                  <a:cubicBezTo>
                    <a:pt x="1084877" y="39993"/>
                    <a:pt x="1085592" y="40708"/>
                    <a:pt x="1086307" y="40708"/>
                  </a:cubicBezTo>
                  <a:cubicBezTo>
                    <a:pt x="1087021" y="41422"/>
                    <a:pt x="1087021" y="41422"/>
                    <a:pt x="1087021" y="41422"/>
                  </a:cubicBezTo>
                  <a:cubicBezTo>
                    <a:pt x="1087736" y="42136"/>
                    <a:pt x="1089165" y="42850"/>
                    <a:pt x="1089880" y="43564"/>
                  </a:cubicBezTo>
                  <a:cubicBezTo>
                    <a:pt x="1089880" y="43564"/>
                    <a:pt x="1090595" y="44278"/>
                    <a:pt x="1090595" y="44278"/>
                  </a:cubicBezTo>
                  <a:cubicBezTo>
                    <a:pt x="1091309" y="44993"/>
                    <a:pt x="1092024" y="44993"/>
                    <a:pt x="1092739" y="45707"/>
                  </a:cubicBezTo>
                  <a:cubicBezTo>
                    <a:pt x="1093453" y="46421"/>
                    <a:pt x="1094168" y="47135"/>
                    <a:pt x="1095597" y="47849"/>
                  </a:cubicBezTo>
                  <a:cubicBezTo>
                    <a:pt x="1095597" y="47849"/>
                    <a:pt x="1095597" y="48563"/>
                    <a:pt x="1095597" y="48563"/>
                  </a:cubicBezTo>
                  <a:cubicBezTo>
                    <a:pt x="1129902" y="79273"/>
                    <a:pt x="1133475" y="130693"/>
                    <a:pt x="1103459" y="165687"/>
                  </a:cubicBezTo>
                  <a:cubicBezTo>
                    <a:pt x="1103459" y="165687"/>
                    <a:pt x="1103459" y="165687"/>
                    <a:pt x="1072013" y="203538"/>
                  </a:cubicBezTo>
                  <a:cubicBezTo>
                    <a:pt x="1040567" y="239960"/>
                    <a:pt x="1004834" y="272812"/>
                    <a:pt x="966241" y="299950"/>
                  </a:cubicBezTo>
                  <a:cubicBezTo>
                    <a:pt x="963383" y="302092"/>
                    <a:pt x="959809" y="304235"/>
                    <a:pt x="956950" y="306377"/>
                  </a:cubicBezTo>
                  <a:cubicBezTo>
                    <a:pt x="954092" y="308520"/>
                    <a:pt x="951233" y="310662"/>
                    <a:pt x="948374" y="312091"/>
                  </a:cubicBezTo>
                  <a:cubicBezTo>
                    <a:pt x="904779" y="340657"/>
                    <a:pt x="856896" y="363511"/>
                    <a:pt x="806154" y="379222"/>
                  </a:cubicBezTo>
                  <a:cubicBezTo>
                    <a:pt x="801866" y="380651"/>
                    <a:pt x="797578" y="382079"/>
                    <a:pt x="792575" y="383507"/>
                  </a:cubicBezTo>
                  <a:cubicBezTo>
                    <a:pt x="791146" y="383507"/>
                    <a:pt x="789716" y="384222"/>
                    <a:pt x="788287" y="384222"/>
                  </a:cubicBezTo>
                  <a:cubicBezTo>
                    <a:pt x="785428" y="384936"/>
                    <a:pt x="782570" y="386364"/>
                    <a:pt x="779711" y="387078"/>
                  </a:cubicBezTo>
                  <a:cubicBezTo>
                    <a:pt x="777567" y="387078"/>
                    <a:pt x="775423" y="387792"/>
                    <a:pt x="773994" y="388507"/>
                  </a:cubicBezTo>
                  <a:cubicBezTo>
                    <a:pt x="771135" y="389221"/>
                    <a:pt x="768991" y="389221"/>
                    <a:pt x="766132" y="389935"/>
                  </a:cubicBezTo>
                  <a:cubicBezTo>
                    <a:pt x="763988" y="390649"/>
                    <a:pt x="761844" y="391363"/>
                    <a:pt x="759700" y="392077"/>
                  </a:cubicBezTo>
                  <a:cubicBezTo>
                    <a:pt x="757556" y="392077"/>
                    <a:pt x="756127" y="392792"/>
                    <a:pt x="753983" y="392792"/>
                  </a:cubicBezTo>
                  <a:cubicBezTo>
                    <a:pt x="743977" y="394934"/>
                    <a:pt x="733972" y="397077"/>
                    <a:pt x="723966" y="399219"/>
                  </a:cubicBezTo>
                  <a:cubicBezTo>
                    <a:pt x="723252" y="399219"/>
                    <a:pt x="722537" y="399219"/>
                    <a:pt x="721822" y="399219"/>
                  </a:cubicBezTo>
                  <a:cubicBezTo>
                    <a:pt x="718249" y="399933"/>
                    <a:pt x="714676" y="400647"/>
                    <a:pt x="711102" y="401362"/>
                  </a:cubicBezTo>
                  <a:cubicBezTo>
                    <a:pt x="710387" y="401362"/>
                    <a:pt x="710387" y="401362"/>
                    <a:pt x="709673" y="401362"/>
                  </a:cubicBezTo>
                  <a:cubicBezTo>
                    <a:pt x="689662" y="404218"/>
                    <a:pt x="670366" y="406361"/>
                    <a:pt x="650355" y="407789"/>
                  </a:cubicBezTo>
                  <a:cubicBezTo>
                    <a:pt x="649640" y="407789"/>
                    <a:pt x="648925" y="407789"/>
                    <a:pt x="648211" y="407789"/>
                  </a:cubicBezTo>
                  <a:cubicBezTo>
                    <a:pt x="644637" y="407789"/>
                    <a:pt x="641064" y="407789"/>
                    <a:pt x="637491" y="408503"/>
                  </a:cubicBezTo>
                  <a:cubicBezTo>
                    <a:pt x="636776" y="408503"/>
                    <a:pt x="636061" y="408503"/>
                    <a:pt x="635347" y="408503"/>
                  </a:cubicBezTo>
                  <a:cubicBezTo>
                    <a:pt x="631058" y="408503"/>
                    <a:pt x="626056" y="408503"/>
                    <a:pt x="621053" y="408503"/>
                  </a:cubicBezTo>
                  <a:cubicBezTo>
                    <a:pt x="621053" y="408503"/>
                    <a:pt x="620338" y="408503"/>
                    <a:pt x="619624" y="408503"/>
                  </a:cubicBezTo>
                  <a:cubicBezTo>
                    <a:pt x="617480" y="408503"/>
                    <a:pt x="614621" y="408503"/>
                    <a:pt x="612477" y="408503"/>
                  </a:cubicBezTo>
                  <a:cubicBezTo>
                    <a:pt x="610333" y="408503"/>
                    <a:pt x="608189" y="408503"/>
                    <a:pt x="606045" y="408503"/>
                  </a:cubicBezTo>
                  <a:cubicBezTo>
                    <a:pt x="603901" y="408503"/>
                    <a:pt x="601042" y="408503"/>
                    <a:pt x="598898" y="408503"/>
                  </a:cubicBezTo>
                  <a:cubicBezTo>
                    <a:pt x="596754" y="408503"/>
                    <a:pt x="594610" y="408503"/>
                    <a:pt x="592466" y="408503"/>
                  </a:cubicBezTo>
                  <a:cubicBezTo>
                    <a:pt x="589607" y="408503"/>
                    <a:pt x="587463" y="408503"/>
                    <a:pt x="584605" y="407789"/>
                  </a:cubicBezTo>
                  <a:cubicBezTo>
                    <a:pt x="582461" y="407789"/>
                    <a:pt x="581031" y="407789"/>
                    <a:pt x="578887" y="407789"/>
                  </a:cubicBezTo>
                  <a:cubicBezTo>
                    <a:pt x="575314" y="407789"/>
                    <a:pt x="571026" y="407075"/>
                    <a:pt x="566738" y="407075"/>
                  </a:cubicBezTo>
                  <a:cubicBezTo>
                    <a:pt x="566738" y="407075"/>
                    <a:pt x="566023" y="407075"/>
                    <a:pt x="566023" y="407075"/>
                  </a:cubicBezTo>
                  <a:cubicBezTo>
                    <a:pt x="566023" y="407075"/>
                    <a:pt x="566023" y="407075"/>
                    <a:pt x="485265" y="401362"/>
                  </a:cubicBezTo>
                  <a:cubicBezTo>
                    <a:pt x="485265" y="401362"/>
                    <a:pt x="485265" y="401362"/>
                    <a:pt x="416656" y="396362"/>
                  </a:cubicBezTo>
                  <a:cubicBezTo>
                    <a:pt x="415227" y="396362"/>
                    <a:pt x="413083" y="396362"/>
                    <a:pt x="410939" y="396362"/>
                  </a:cubicBezTo>
                  <a:cubicBezTo>
                    <a:pt x="410224" y="396362"/>
                    <a:pt x="408794" y="396362"/>
                    <a:pt x="407365" y="396362"/>
                  </a:cubicBezTo>
                  <a:cubicBezTo>
                    <a:pt x="402362" y="396362"/>
                    <a:pt x="398074" y="397077"/>
                    <a:pt x="393072" y="397791"/>
                  </a:cubicBezTo>
                  <a:cubicBezTo>
                    <a:pt x="391642" y="398505"/>
                    <a:pt x="390213" y="398505"/>
                    <a:pt x="388784" y="398505"/>
                  </a:cubicBezTo>
                  <a:cubicBezTo>
                    <a:pt x="388784" y="399219"/>
                    <a:pt x="388784" y="399219"/>
                    <a:pt x="388784" y="399219"/>
                  </a:cubicBezTo>
                  <a:cubicBezTo>
                    <a:pt x="387354" y="399219"/>
                    <a:pt x="385925" y="399933"/>
                    <a:pt x="384496" y="399933"/>
                  </a:cubicBezTo>
                  <a:cubicBezTo>
                    <a:pt x="384496" y="399933"/>
                    <a:pt x="384496" y="399933"/>
                    <a:pt x="383781" y="400647"/>
                  </a:cubicBezTo>
                  <a:cubicBezTo>
                    <a:pt x="382352" y="400647"/>
                    <a:pt x="380922" y="401362"/>
                    <a:pt x="379493" y="402076"/>
                  </a:cubicBezTo>
                  <a:cubicBezTo>
                    <a:pt x="379493" y="402076"/>
                    <a:pt x="379493" y="402076"/>
                    <a:pt x="21441" y="540624"/>
                  </a:cubicBezTo>
                  <a:cubicBezTo>
                    <a:pt x="20011" y="541338"/>
                    <a:pt x="17867" y="541338"/>
                    <a:pt x="15723" y="541338"/>
                  </a:cubicBezTo>
                  <a:cubicBezTo>
                    <a:pt x="12864" y="541338"/>
                    <a:pt x="10006" y="540624"/>
                    <a:pt x="7147" y="538481"/>
                  </a:cubicBezTo>
                  <a:cubicBezTo>
                    <a:pt x="2859" y="535625"/>
                    <a:pt x="0" y="530626"/>
                    <a:pt x="0" y="525626"/>
                  </a:cubicBezTo>
                  <a:cubicBezTo>
                    <a:pt x="0" y="525626"/>
                    <a:pt x="0" y="525626"/>
                    <a:pt x="0" y="209251"/>
                  </a:cubicBezTo>
                  <a:cubicBezTo>
                    <a:pt x="0" y="203538"/>
                    <a:pt x="3574" y="198538"/>
                    <a:pt x="7862" y="195682"/>
                  </a:cubicBezTo>
                  <a:cubicBezTo>
                    <a:pt x="7862" y="195682"/>
                    <a:pt x="7862" y="195682"/>
                    <a:pt x="310169" y="24282"/>
                  </a:cubicBezTo>
                  <a:cubicBezTo>
                    <a:pt x="311599" y="22853"/>
                    <a:pt x="313743" y="22139"/>
                    <a:pt x="315887" y="21425"/>
                  </a:cubicBezTo>
                  <a:cubicBezTo>
                    <a:pt x="316601" y="20711"/>
                    <a:pt x="317316" y="20711"/>
                    <a:pt x="318031" y="19997"/>
                  </a:cubicBezTo>
                  <a:cubicBezTo>
                    <a:pt x="318745" y="19283"/>
                    <a:pt x="320175" y="18568"/>
                    <a:pt x="320889" y="18568"/>
                  </a:cubicBezTo>
                  <a:cubicBezTo>
                    <a:pt x="322319" y="17854"/>
                    <a:pt x="323033" y="17140"/>
                    <a:pt x="324463" y="17140"/>
                  </a:cubicBezTo>
                  <a:cubicBezTo>
                    <a:pt x="325177" y="16426"/>
                    <a:pt x="325892" y="16426"/>
                    <a:pt x="326607" y="15712"/>
                  </a:cubicBezTo>
                  <a:cubicBezTo>
                    <a:pt x="328036" y="14998"/>
                    <a:pt x="328751" y="14998"/>
                    <a:pt x="330180" y="14283"/>
                  </a:cubicBezTo>
                  <a:cubicBezTo>
                    <a:pt x="330895" y="14283"/>
                    <a:pt x="331610" y="13569"/>
                    <a:pt x="332324" y="13569"/>
                  </a:cubicBezTo>
                  <a:cubicBezTo>
                    <a:pt x="333754" y="12855"/>
                    <a:pt x="335183" y="12141"/>
                    <a:pt x="336612" y="12141"/>
                  </a:cubicBezTo>
                  <a:cubicBezTo>
                    <a:pt x="336612" y="11427"/>
                    <a:pt x="337327" y="11427"/>
                    <a:pt x="338042" y="11427"/>
                  </a:cubicBezTo>
                  <a:cubicBezTo>
                    <a:pt x="339471" y="10713"/>
                    <a:pt x="340900" y="9998"/>
                    <a:pt x="342330" y="9998"/>
                  </a:cubicBezTo>
                  <a:cubicBezTo>
                    <a:pt x="342330" y="9284"/>
                    <a:pt x="343044" y="9284"/>
                    <a:pt x="343759" y="9284"/>
                  </a:cubicBezTo>
                  <a:cubicBezTo>
                    <a:pt x="345188" y="8570"/>
                    <a:pt x="346618" y="8570"/>
                    <a:pt x="348047" y="7856"/>
                  </a:cubicBezTo>
                  <a:cubicBezTo>
                    <a:pt x="348762" y="7856"/>
                    <a:pt x="348762" y="7856"/>
                    <a:pt x="349476" y="7856"/>
                  </a:cubicBezTo>
                  <a:cubicBezTo>
                    <a:pt x="350906" y="7142"/>
                    <a:pt x="352335" y="6428"/>
                    <a:pt x="354479" y="6428"/>
                  </a:cubicBezTo>
                  <a:cubicBezTo>
                    <a:pt x="354479" y="6428"/>
                    <a:pt x="354479" y="5713"/>
                    <a:pt x="354479" y="5713"/>
                  </a:cubicBezTo>
                  <a:cubicBezTo>
                    <a:pt x="363770" y="3571"/>
                    <a:pt x="372346" y="2143"/>
                    <a:pt x="381637" y="1428"/>
                  </a:cubicBezTo>
                  <a:cubicBezTo>
                    <a:pt x="382352" y="714"/>
                    <a:pt x="383066" y="714"/>
                    <a:pt x="383781" y="714"/>
                  </a:cubicBezTo>
                  <a:cubicBezTo>
                    <a:pt x="385210" y="714"/>
                    <a:pt x="385925" y="714"/>
                    <a:pt x="387354" y="714"/>
                  </a:cubicBezTo>
                  <a:cubicBezTo>
                    <a:pt x="388069" y="714"/>
                    <a:pt x="389498" y="714"/>
                    <a:pt x="3902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5" name="Group 4">
            <a:extLst>
              <a:ext uri="{FF2B5EF4-FFF2-40B4-BE49-F238E27FC236}">
                <a16:creationId xmlns:a16="http://schemas.microsoft.com/office/drawing/2014/main" id="{C0BDEA9F-595E-42F8-A1D1-5BFD1298BC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79935" y="4524249"/>
            <a:ext cx="612557" cy="613125"/>
            <a:chOff x="1682" y="0"/>
            <a:chExt cx="4316" cy="432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B759E9F5-B3FF-4874-AB2A-AC90FB54F6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69C4815-6E3F-40F1-A7F8-00EFDB1478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" y="698"/>
              <a:ext cx="2996" cy="2895"/>
            </a:xfrm>
            <a:custGeom>
              <a:avLst/>
              <a:gdLst>
                <a:gd name="T0" fmla="*/ 773 w 1599"/>
                <a:gd name="T1" fmla="*/ 467 h 1544"/>
                <a:gd name="T2" fmla="*/ 800 w 1599"/>
                <a:gd name="T3" fmla="*/ 552 h 1544"/>
                <a:gd name="T4" fmla="*/ 682 w 1599"/>
                <a:gd name="T5" fmla="*/ 587 h 1544"/>
                <a:gd name="T6" fmla="*/ 211 w 1599"/>
                <a:gd name="T7" fmla="*/ 308 h 1544"/>
                <a:gd name="T8" fmla="*/ 173 w 1599"/>
                <a:gd name="T9" fmla="*/ 330 h 1544"/>
                <a:gd name="T10" fmla="*/ 21 w 1599"/>
                <a:gd name="T11" fmla="*/ 555 h 1544"/>
                <a:gd name="T12" fmla="*/ 0 w 1599"/>
                <a:gd name="T13" fmla="*/ 393 h 1544"/>
                <a:gd name="T14" fmla="*/ 387 w 1599"/>
                <a:gd name="T15" fmla="*/ 0 h 1544"/>
                <a:gd name="T16" fmla="*/ 774 w 1599"/>
                <a:gd name="T17" fmla="*/ 393 h 1544"/>
                <a:gd name="T18" fmla="*/ 773 w 1599"/>
                <a:gd name="T19" fmla="*/ 467 h 1544"/>
                <a:gd name="T20" fmla="*/ 1599 w 1599"/>
                <a:gd name="T21" fmla="*/ 1530 h 1544"/>
                <a:gd name="T22" fmla="*/ 1573 w 1599"/>
                <a:gd name="T23" fmla="*/ 709 h 1544"/>
                <a:gd name="T24" fmla="*/ 1559 w 1599"/>
                <a:gd name="T25" fmla="*/ 694 h 1544"/>
                <a:gd name="T26" fmla="*/ 948 w 1599"/>
                <a:gd name="T27" fmla="*/ 694 h 1544"/>
                <a:gd name="T28" fmla="*/ 933 w 1599"/>
                <a:gd name="T29" fmla="*/ 709 h 1544"/>
                <a:gd name="T30" fmla="*/ 907 w 1599"/>
                <a:gd name="T31" fmla="*/ 1530 h 1544"/>
                <a:gd name="T32" fmla="*/ 922 w 1599"/>
                <a:gd name="T33" fmla="*/ 1544 h 1544"/>
                <a:gd name="T34" fmla="*/ 1585 w 1599"/>
                <a:gd name="T35" fmla="*/ 1544 h 1544"/>
                <a:gd name="T36" fmla="*/ 1599 w 1599"/>
                <a:gd name="T37" fmla="*/ 1530 h 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99" h="1544">
                  <a:moveTo>
                    <a:pt x="773" y="467"/>
                  </a:moveTo>
                  <a:cubicBezTo>
                    <a:pt x="771" y="488"/>
                    <a:pt x="778" y="520"/>
                    <a:pt x="800" y="552"/>
                  </a:cubicBezTo>
                  <a:cubicBezTo>
                    <a:pt x="800" y="552"/>
                    <a:pt x="720" y="609"/>
                    <a:pt x="682" y="587"/>
                  </a:cubicBezTo>
                  <a:cubicBezTo>
                    <a:pt x="638" y="563"/>
                    <a:pt x="453" y="308"/>
                    <a:pt x="211" y="308"/>
                  </a:cubicBezTo>
                  <a:cubicBezTo>
                    <a:pt x="211" y="308"/>
                    <a:pt x="185" y="323"/>
                    <a:pt x="173" y="330"/>
                  </a:cubicBezTo>
                  <a:cubicBezTo>
                    <a:pt x="64" y="405"/>
                    <a:pt x="59" y="589"/>
                    <a:pt x="21" y="555"/>
                  </a:cubicBezTo>
                  <a:cubicBezTo>
                    <a:pt x="7" y="537"/>
                    <a:pt x="0" y="441"/>
                    <a:pt x="0" y="393"/>
                  </a:cubicBezTo>
                  <a:cubicBezTo>
                    <a:pt x="0" y="176"/>
                    <a:pt x="168" y="0"/>
                    <a:pt x="387" y="0"/>
                  </a:cubicBezTo>
                  <a:cubicBezTo>
                    <a:pt x="606" y="0"/>
                    <a:pt x="774" y="176"/>
                    <a:pt x="774" y="393"/>
                  </a:cubicBezTo>
                  <a:cubicBezTo>
                    <a:pt x="774" y="419"/>
                    <a:pt x="775" y="443"/>
                    <a:pt x="773" y="467"/>
                  </a:cubicBezTo>
                  <a:close/>
                  <a:moveTo>
                    <a:pt x="1599" y="1530"/>
                  </a:moveTo>
                  <a:cubicBezTo>
                    <a:pt x="1573" y="709"/>
                    <a:pt x="1573" y="709"/>
                    <a:pt x="1573" y="709"/>
                  </a:cubicBezTo>
                  <a:cubicBezTo>
                    <a:pt x="1573" y="701"/>
                    <a:pt x="1567" y="694"/>
                    <a:pt x="1559" y="694"/>
                  </a:cubicBezTo>
                  <a:cubicBezTo>
                    <a:pt x="948" y="694"/>
                    <a:pt x="948" y="694"/>
                    <a:pt x="948" y="694"/>
                  </a:cubicBezTo>
                  <a:cubicBezTo>
                    <a:pt x="940" y="694"/>
                    <a:pt x="933" y="701"/>
                    <a:pt x="933" y="709"/>
                  </a:cubicBezTo>
                  <a:cubicBezTo>
                    <a:pt x="907" y="1530"/>
                    <a:pt x="907" y="1530"/>
                    <a:pt x="907" y="1530"/>
                  </a:cubicBezTo>
                  <a:cubicBezTo>
                    <a:pt x="907" y="1538"/>
                    <a:pt x="914" y="1544"/>
                    <a:pt x="922" y="1544"/>
                  </a:cubicBezTo>
                  <a:cubicBezTo>
                    <a:pt x="1585" y="1544"/>
                    <a:pt x="1585" y="1544"/>
                    <a:pt x="1585" y="1544"/>
                  </a:cubicBezTo>
                  <a:cubicBezTo>
                    <a:pt x="1593" y="1544"/>
                    <a:pt x="1599" y="1538"/>
                    <a:pt x="1599" y="1530"/>
                  </a:cubicBezTo>
                  <a:close/>
                </a:path>
              </a:pathLst>
            </a:custGeom>
            <a:solidFill>
              <a:srgbClr val="ED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E5323DF-6F89-43BA-B6DA-CE1B9DD1A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1547"/>
              <a:ext cx="3480" cy="1817"/>
            </a:xfrm>
            <a:custGeom>
              <a:avLst/>
              <a:gdLst>
                <a:gd name="T0" fmla="*/ 1171 w 1858"/>
                <a:gd name="T1" fmla="*/ 159 h 969"/>
                <a:gd name="T2" fmla="*/ 1116 w 1858"/>
                <a:gd name="T3" fmla="*/ 240 h 969"/>
                <a:gd name="T4" fmla="*/ 990 w 1858"/>
                <a:gd name="T5" fmla="*/ 495 h 969"/>
                <a:gd name="T6" fmla="*/ 984 w 1858"/>
                <a:gd name="T7" fmla="*/ 501 h 969"/>
                <a:gd name="T8" fmla="*/ 984 w 1858"/>
                <a:gd name="T9" fmla="*/ 599 h 969"/>
                <a:gd name="T10" fmla="*/ 940 w 1858"/>
                <a:gd name="T11" fmla="*/ 635 h 969"/>
                <a:gd name="T12" fmla="*/ 940 w 1858"/>
                <a:gd name="T13" fmla="*/ 533 h 969"/>
                <a:gd name="T14" fmla="*/ 778 w 1858"/>
                <a:gd name="T15" fmla="*/ 598 h 969"/>
                <a:gd name="T16" fmla="*/ 632 w 1858"/>
                <a:gd name="T17" fmla="*/ 543 h 969"/>
                <a:gd name="T18" fmla="*/ 632 w 1858"/>
                <a:gd name="T19" fmla="*/ 637 h 969"/>
                <a:gd name="T20" fmla="*/ 588 w 1858"/>
                <a:gd name="T21" fmla="*/ 600 h 969"/>
                <a:gd name="T22" fmla="*/ 588 w 1858"/>
                <a:gd name="T23" fmla="*/ 513 h 969"/>
                <a:gd name="T24" fmla="*/ 566 w 1858"/>
                <a:gd name="T25" fmla="*/ 495 h 969"/>
                <a:gd name="T26" fmla="*/ 441 w 1858"/>
                <a:gd name="T27" fmla="*/ 241 h 969"/>
                <a:gd name="T28" fmla="*/ 381 w 1858"/>
                <a:gd name="T29" fmla="*/ 116 h 969"/>
                <a:gd name="T30" fmla="*/ 383 w 1858"/>
                <a:gd name="T31" fmla="*/ 108 h 969"/>
                <a:gd name="T32" fmla="*/ 395 w 1858"/>
                <a:gd name="T33" fmla="*/ 130 h 969"/>
                <a:gd name="T34" fmla="*/ 428 w 1858"/>
                <a:gd name="T35" fmla="*/ 144 h 969"/>
                <a:gd name="T36" fmla="*/ 465 w 1858"/>
                <a:gd name="T37" fmla="*/ 203 h 969"/>
                <a:gd name="T38" fmla="*/ 478 w 1858"/>
                <a:gd name="T39" fmla="*/ 216 h 969"/>
                <a:gd name="T40" fmla="*/ 595 w 1858"/>
                <a:gd name="T41" fmla="*/ 463 h 969"/>
                <a:gd name="T42" fmla="*/ 778 w 1858"/>
                <a:gd name="T43" fmla="*/ 554 h 969"/>
                <a:gd name="T44" fmla="*/ 961 w 1858"/>
                <a:gd name="T45" fmla="*/ 463 h 969"/>
                <a:gd name="T46" fmla="*/ 1078 w 1858"/>
                <a:gd name="T47" fmla="*/ 216 h 969"/>
                <a:gd name="T48" fmla="*/ 1089 w 1858"/>
                <a:gd name="T49" fmla="*/ 205 h 969"/>
                <a:gd name="T50" fmla="*/ 1118 w 1858"/>
                <a:gd name="T51" fmla="*/ 176 h 969"/>
                <a:gd name="T52" fmla="*/ 1171 w 1858"/>
                <a:gd name="T53" fmla="*/ 159 h 969"/>
                <a:gd name="T54" fmla="*/ 1498 w 1858"/>
                <a:gd name="T55" fmla="*/ 197 h 969"/>
                <a:gd name="T56" fmla="*/ 1656 w 1858"/>
                <a:gd name="T57" fmla="*/ 44 h 969"/>
                <a:gd name="T58" fmla="*/ 1814 w 1858"/>
                <a:gd name="T59" fmla="*/ 197 h 969"/>
                <a:gd name="T60" fmla="*/ 1858 w 1858"/>
                <a:gd name="T61" fmla="*/ 197 h 969"/>
                <a:gd name="T62" fmla="*/ 1799 w 1858"/>
                <a:gd name="T63" fmla="*/ 55 h 969"/>
                <a:gd name="T64" fmla="*/ 1656 w 1858"/>
                <a:gd name="T65" fmla="*/ 0 h 969"/>
                <a:gd name="T66" fmla="*/ 1513 w 1858"/>
                <a:gd name="T67" fmla="*/ 55 h 969"/>
                <a:gd name="T68" fmla="*/ 1454 w 1858"/>
                <a:gd name="T69" fmla="*/ 197 h 969"/>
                <a:gd name="T70" fmla="*/ 1498 w 1858"/>
                <a:gd name="T71" fmla="*/ 197 h 969"/>
                <a:gd name="T72" fmla="*/ 1276 w 1858"/>
                <a:gd name="T73" fmla="*/ 636 h 969"/>
                <a:gd name="T74" fmla="*/ 1039 w 1858"/>
                <a:gd name="T75" fmla="*/ 610 h 969"/>
                <a:gd name="T76" fmla="*/ 791 w 1858"/>
                <a:gd name="T77" fmla="*/ 814 h 969"/>
                <a:gd name="T78" fmla="*/ 780 w 1858"/>
                <a:gd name="T79" fmla="*/ 814 h 969"/>
                <a:gd name="T80" fmla="*/ 531 w 1858"/>
                <a:gd name="T81" fmla="*/ 610 h 969"/>
                <a:gd name="T82" fmla="*/ 194 w 1858"/>
                <a:gd name="T83" fmla="*/ 668 h 969"/>
                <a:gd name="T84" fmla="*/ 5 w 1858"/>
                <a:gd name="T85" fmla="*/ 944 h 969"/>
                <a:gd name="T86" fmla="*/ 23 w 1858"/>
                <a:gd name="T87" fmla="*/ 969 h 969"/>
                <a:gd name="T88" fmla="*/ 1266 w 1858"/>
                <a:gd name="T89" fmla="*/ 969 h 969"/>
                <a:gd name="T90" fmla="*/ 1276 w 1858"/>
                <a:gd name="T91" fmla="*/ 636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8" h="969">
                  <a:moveTo>
                    <a:pt x="1171" y="159"/>
                  </a:moveTo>
                  <a:cubicBezTo>
                    <a:pt x="1166" y="182"/>
                    <a:pt x="1152" y="218"/>
                    <a:pt x="1116" y="240"/>
                  </a:cubicBezTo>
                  <a:cubicBezTo>
                    <a:pt x="1096" y="290"/>
                    <a:pt x="1026" y="464"/>
                    <a:pt x="990" y="495"/>
                  </a:cubicBezTo>
                  <a:cubicBezTo>
                    <a:pt x="988" y="497"/>
                    <a:pt x="986" y="499"/>
                    <a:pt x="984" y="501"/>
                  </a:cubicBezTo>
                  <a:cubicBezTo>
                    <a:pt x="984" y="599"/>
                    <a:pt x="984" y="599"/>
                    <a:pt x="984" y="599"/>
                  </a:cubicBezTo>
                  <a:cubicBezTo>
                    <a:pt x="972" y="609"/>
                    <a:pt x="957" y="621"/>
                    <a:pt x="940" y="635"/>
                  </a:cubicBezTo>
                  <a:cubicBezTo>
                    <a:pt x="940" y="533"/>
                    <a:pt x="940" y="533"/>
                    <a:pt x="940" y="533"/>
                  </a:cubicBezTo>
                  <a:cubicBezTo>
                    <a:pt x="891" y="565"/>
                    <a:pt x="825" y="598"/>
                    <a:pt x="778" y="598"/>
                  </a:cubicBezTo>
                  <a:cubicBezTo>
                    <a:pt x="736" y="598"/>
                    <a:pt x="679" y="571"/>
                    <a:pt x="632" y="543"/>
                  </a:cubicBezTo>
                  <a:cubicBezTo>
                    <a:pt x="632" y="637"/>
                    <a:pt x="632" y="637"/>
                    <a:pt x="632" y="637"/>
                  </a:cubicBezTo>
                  <a:cubicBezTo>
                    <a:pt x="615" y="623"/>
                    <a:pt x="600" y="610"/>
                    <a:pt x="588" y="600"/>
                  </a:cubicBezTo>
                  <a:cubicBezTo>
                    <a:pt x="588" y="513"/>
                    <a:pt x="588" y="513"/>
                    <a:pt x="588" y="513"/>
                  </a:cubicBezTo>
                  <a:cubicBezTo>
                    <a:pt x="579" y="507"/>
                    <a:pt x="572" y="501"/>
                    <a:pt x="566" y="495"/>
                  </a:cubicBezTo>
                  <a:cubicBezTo>
                    <a:pt x="531" y="464"/>
                    <a:pt x="461" y="293"/>
                    <a:pt x="441" y="241"/>
                  </a:cubicBezTo>
                  <a:cubicBezTo>
                    <a:pt x="391" y="215"/>
                    <a:pt x="381" y="142"/>
                    <a:pt x="381" y="116"/>
                  </a:cubicBezTo>
                  <a:cubicBezTo>
                    <a:pt x="381" y="113"/>
                    <a:pt x="382" y="110"/>
                    <a:pt x="383" y="108"/>
                  </a:cubicBezTo>
                  <a:cubicBezTo>
                    <a:pt x="387" y="115"/>
                    <a:pt x="390" y="123"/>
                    <a:pt x="395" y="130"/>
                  </a:cubicBezTo>
                  <a:cubicBezTo>
                    <a:pt x="405" y="143"/>
                    <a:pt x="419" y="144"/>
                    <a:pt x="428" y="144"/>
                  </a:cubicBezTo>
                  <a:cubicBezTo>
                    <a:pt x="433" y="167"/>
                    <a:pt x="444" y="196"/>
                    <a:pt x="465" y="203"/>
                  </a:cubicBezTo>
                  <a:cubicBezTo>
                    <a:pt x="471" y="206"/>
                    <a:pt x="476" y="210"/>
                    <a:pt x="478" y="216"/>
                  </a:cubicBezTo>
                  <a:cubicBezTo>
                    <a:pt x="514" y="307"/>
                    <a:pt x="574" y="443"/>
                    <a:pt x="595" y="463"/>
                  </a:cubicBezTo>
                  <a:cubicBezTo>
                    <a:pt x="631" y="494"/>
                    <a:pt x="727" y="554"/>
                    <a:pt x="778" y="554"/>
                  </a:cubicBezTo>
                  <a:cubicBezTo>
                    <a:pt x="829" y="554"/>
                    <a:pt x="926" y="494"/>
                    <a:pt x="961" y="463"/>
                  </a:cubicBezTo>
                  <a:cubicBezTo>
                    <a:pt x="983" y="443"/>
                    <a:pt x="1043" y="307"/>
                    <a:pt x="1078" y="216"/>
                  </a:cubicBezTo>
                  <a:cubicBezTo>
                    <a:pt x="1080" y="211"/>
                    <a:pt x="1084" y="207"/>
                    <a:pt x="1089" y="205"/>
                  </a:cubicBezTo>
                  <a:cubicBezTo>
                    <a:pt x="1103" y="197"/>
                    <a:pt x="1112" y="187"/>
                    <a:pt x="1118" y="176"/>
                  </a:cubicBezTo>
                  <a:cubicBezTo>
                    <a:pt x="1137" y="173"/>
                    <a:pt x="1155" y="167"/>
                    <a:pt x="1171" y="159"/>
                  </a:cubicBezTo>
                  <a:close/>
                  <a:moveTo>
                    <a:pt x="1498" y="197"/>
                  </a:moveTo>
                  <a:cubicBezTo>
                    <a:pt x="1504" y="104"/>
                    <a:pt x="1565" y="44"/>
                    <a:pt x="1656" y="44"/>
                  </a:cubicBezTo>
                  <a:cubicBezTo>
                    <a:pt x="1748" y="44"/>
                    <a:pt x="1808" y="104"/>
                    <a:pt x="1814" y="197"/>
                  </a:cubicBezTo>
                  <a:cubicBezTo>
                    <a:pt x="1858" y="197"/>
                    <a:pt x="1858" y="197"/>
                    <a:pt x="1858" y="197"/>
                  </a:cubicBezTo>
                  <a:cubicBezTo>
                    <a:pt x="1855" y="140"/>
                    <a:pt x="1835" y="91"/>
                    <a:pt x="1799" y="55"/>
                  </a:cubicBezTo>
                  <a:cubicBezTo>
                    <a:pt x="1763" y="20"/>
                    <a:pt x="1712" y="0"/>
                    <a:pt x="1656" y="0"/>
                  </a:cubicBezTo>
                  <a:cubicBezTo>
                    <a:pt x="1600" y="0"/>
                    <a:pt x="1549" y="20"/>
                    <a:pt x="1513" y="55"/>
                  </a:cubicBezTo>
                  <a:cubicBezTo>
                    <a:pt x="1477" y="91"/>
                    <a:pt x="1457" y="140"/>
                    <a:pt x="1454" y="197"/>
                  </a:cubicBezTo>
                  <a:lnTo>
                    <a:pt x="1498" y="197"/>
                  </a:lnTo>
                  <a:close/>
                  <a:moveTo>
                    <a:pt x="1276" y="636"/>
                  </a:moveTo>
                  <a:cubicBezTo>
                    <a:pt x="1164" y="612"/>
                    <a:pt x="1039" y="610"/>
                    <a:pt x="1039" y="610"/>
                  </a:cubicBezTo>
                  <a:cubicBezTo>
                    <a:pt x="1039" y="610"/>
                    <a:pt x="899" y="727"/>
                    <a:pt x="791" y="814"/>
                  </a:cubicBezTo>
                  <a:cubicBezTo>
                    <a:pt x="787" y="816"/>
                    <a:pt x="783" y="816"/>
                    <a:pt x="780" y="814"/>
                  </a:cubicBezTo>
                  <a:cubicBezTo>
                    <a:pt x="700" y="750"/>
                    <a:pt x="531" y="610"/>
                    <a:pt x="531" y="610"/>
                  </a:cubicBezTo>
                  <a:cubicBezTo>
                    <a:pt x="531" y="610"/>
                    <a:pt x="312" y="613"/>
                    <a:pt x="194" y="668"/>
                  </a:cubicBezTo>
                  <a:cubicBezTo>
                    <a:pt x="98" y="712"/>
                    <a:pt x="29" y="879"/>
                    <a:pt x="5" y="944"/>
                  </a:cubicBezTo>
                  <a:cubicBezTo>
                    <a:pt x="0" y="956"/>
                    <a:pt x="9" y="969"/>
                    <a:pt x="23" y="969"/>
                  </a:cubicBezTo>
                  <a:cubicBezTo>
                    <a:pt x="1266" y="969"/>
                    <a:pt x="1266" y="969"/>
                    <a:pt x="1266" y="969"/>
                  </a:cubicBezTo>
                  <a:lnTo>
                    <a:pt x="1276" y="636"/>
                  </a:lnTo>
                  <a:close/>
                </a:path>
              </a:pathLst>
            </a:custGeom>
            <a:solidFill>
              <a:srgbClr val="A727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416386" y="4748869"/>
            <a:ext cx="289419" cy="209041"/>
            <a:chOff x="6928025" y="2712595"/>
            <a:chExt cx="659717" cy="476500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C946E92-91E1-4AAB-A43B-2AF68167C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8025" y="2712595"/>
              <a:ext cx="659717" cy="476500"/>
            </a:xfrm>
            <a:custGeom>
              <a:avLst/>
              <a:gdLst>
                <a:gd name="T0" fmla="*/ 1716 w 1762"/>
                <a:gd name="T1" fmla="*/ 1534 h 1534"/>
                <a:gd name="T2" fmla="*/ 46 w 1762"/>
                <a:gd name="T3" fmla="*/ 1534 h 1534"/>
                <a:gd name="T4" fmla="*/ 8 w 1762"/>
                <a:gd name="T5" fmla="*/ 1512 h 1534"/>
                <a:gd name="T6" fmla="*/ 8 w 1762"/>
                <a:gd name="T7" fmla="*/ 1468 h 1534"/>
                <a:gd name="T8" fmla="*/ 843 w 1762"/>
                <a:gd name="T9" fmla="*/ 22 h 1534"/>
                <a:gd name="T10" fmla="*/ 881 w 1762"/>
                <a:gd name="T11" fmla="*/ 0 h 1534"/>
                <a:gd name="T12" fmla="*/ 919 w 1762"/>
                <a:gd name="T13" fmla="*/ 22 h 1534"/>
                <a:gd name="T14" fmla="*/ 919 w 1762"/>
                <a:gd name="T15" fmla="*/ 22 h 1534"/>
                <a:gd name="T16" fmla="*/ 1754 w 1762"/>
                <a:gd name="T17" fmla="*/ 1468 h 1534"/>
                <a:gd name="T18" fmla="*/ 1754 w 1762"/>
                <a:gd name="T19" fmla="*/ 1512 h 1534"/>
                <a:gd name="T20" fmla="*/ 1716 w 1762"/>
                <a:gd name="T21" fmla="*/ 1534 h 1534"/>
                <a:gd name="T22" fmla="*/ 881 w 1762"/>
                <a:gd name="T23" fmla="*/ 44 h 1534"/>
                <a:gd name="T24" fmla="*/ 46 w 1762"/>
                <a:gd name="T25" fmla="*/ 1490 h 1534"/>
                <a:gd name="T26" fmla="*/ 1716 w 1762"/>
                <a:gd name="T27" fmla="*/ 1490 h 1534"/>
                <a:gd name="T28" fmla="*/ 881 w 1762"/>
                <a:gd name="T29" fmla="*/ 44 h 1534"/>
                <a:gd name="T30" fmla="*/ 881 w 1762"/>
                <a:gd name="T31" fmla="*/ 44 h 1534"/>
                <a:gd name="T32" fmla="*/ 881 w 1762"/>
                <a:gd name="T33" fmla="*/ 44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2" h="1534">
                  <a:moveTo>
                    <a:pt x="1716" y="1534"/>
                  </a:moveTo>
                  <a:cubicBezTo>
                    <a:pt x="46" y="1534"/>
                    <a:pt x="46" y="1534"/>
                    <a:pt x="46" y="1534"/>
                  </a:cubicBezTo>
                  <a:cubicBezTo>
                    <a:pt x="30" y="1534"/>
                    <a:pt x="16" y="1526"/>
                    <a:pt x="8" y="1512"/>
                  </a:cubicBezTo>
                  <a:cubicBezTo>
                    <a:pt x="0" y="1498"/>
                    <a:pt x="0" y="1482"/>
                    <a:pt x="8" y="1468"/>
                  </a:cubicBezTo>
                  <a:cubicBezTo>
                    <a:pt x="843" y="22"/>
                    <a:pt x="843" y="22"/>
                    <a:pt x="843" y="22"/>
                  </a:cubicBezTo>
                  <a:cubicBezTo>
                    <a:pt x="851" y="8"/>
                    <a:pt x="865" y="0"/>
                    <a:pt x="881" y="0"/>
                  </a:cubicBezTo>
                  <a:cubicBezTo>
                    <a:pt x="897" y="0"/>
                    <a:pt x="911" y="8"/>
                    <a:pt x="919" y="22"/>
                  </a:cubicBezTo>
                  <a:cubicBezTo>
                    <a:pt x="919" y="22"/>
                    <a:pt x="919" y="22"/>
                    <a:pt x="919" y="22"/>
                  </a:cubicBezTo>
                  <a:cubicBezTo>
                    <a:pt x="1754" y="1468"/>
                    <a:pt x="1754" y="1468"/>
                    <a:pt x="1754" y="1468"/>
                  </a:cubicBezTo>
                  <a:cubicBezTo>
                    <a:pt x="1762" y="1482"/>
                    <a:pt x="1762" y="1498"/>
                    <a:pt x="1754" y="1512"/>
                  </a:cubicBezTo>
                  <a:cubicBezTo>
                    <a:pt x="1746" y="1526"/>
                    <a:pt x="1732" y="1534"/>
                    <a:pt x="1716" y="1534"/>
                  </a:cubicBezTo>
                  <a:close/>
                  <a:moveTo>
                    <a:pt x="881" y="44"/>
                  </a:moveTo>
                  <a:cubicBezTo>
                    <a:pt x="46" y="1490"/>
                    <a:pt x="46" y="1490"/>
                    <a:pt x="46" y="1490"/>
                  </a:cubicBezTo>
                  <a:cubicBezTo>
                    <a:pt x="1716" y="1490"/>
                    <a:pt x="1716" y="1490"/>
                    <a:pt x="1716" y="1490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E00C2B5B-5FB8-4835-AE91-FBBCFFD6DD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5604" y="2756003"/>
              <a:ext cx="564758" cy="405754"/>
            </a:xfrm>
            <a:custGeom>
              <a:avLst/>
              <a:gdLst>
                <a:gd name="T0" fmla="*/ 1504 w 1508"/>
                <a:gd name="T1" fmla="*/ 1291 h 1306"/>
                <a:gd name="T2" fmla="*/ 763 w 1508"/>
                <a:gd name="T3" fmla="*/ 7 h 1306"/>
                <a:gd name="T4" fmla="*/ 745 w 1508"/>
                <a:gd name="T5" fmla="*/ 7 h 1306"/>
                <a:gd name="T6" fmla="*/ 4 w 1508"/>
                <a:gd name="T7" fmla="*/ 1291 h 1306"/>
                <a:gd name="T8" fmla="*/ 13 w 1508"/>
                <a:gd name="T9" fmla="*/ 1306 h 1306"/>
                <a:gd name="T10" fmla="*/ 1495 w 1508"/>
                <a:gd name="T11" fmla="*/ 1306 h 1306"/>
                <a:gd name="T12" fmla="*/ 1504 w 1508"/>
                <a:gd name="T13" fmla="*/ 1291 h 1306"/>
                <a:gd name="T14" fmla="*/ 694 w 1508"/>
                <a:gd name="T15" fmla="*/ 419 h 1306"/>
                <a:gd name="T16" fmla="*/ 814 w 1508"/>
                <a:gd name="T17" fmla="*/ 419 h 1306"/>
                <a:gd name="T18" fmla="*/ 814 w 1508"/>
                <a:gd name="T19" fmla="*/ 608 h 1306"/>
                <a:gd name="T20" fmla="*/ 778 w 1508"/>
                <a:gd name="T21" fmla="*/ 932 h 1306"/>
                <a:gd name="T22" fmla="*/ 730 w 1508"/>
                <a:gd name="T23" fmla="*/ 932 h 1306"/>
                <a:gd name="T24" fmla="*/ 694 w 1508"/>
                <a:gd name="T25" fmla="*/ 608 h 1306"/>
                <a:gd name="T26" fmla="*/ 694 w 1508"/>
                <a:gd name="T27" fmla="*/ 419 h 1306"/>
                <a:gd name="T28" fmla="*/ 808 w 1508"/>
                <a:gd name="T29" fmla="*/ 1095 h 1306"/>
                <a:gd name="T30" fmla="*/ 755 w 1508"/>
                <a:gd name="T31" fmla="*/ 1117 h 1306"/>
                <a:gd name="T32" fmla="*/ 701 w 1508"/>
                <a:gd name="T33" fmla="*/ 1095 h 1306"/>
                <a:gd name="T34" fmla="*/ 678 w 1508"/>
                <a:gd name="T35" fmla="*/ 1041 h 1306"/>
                <a:gd name="T36" fmla="*/ 701 w 1508"/>
                <a:gd name="T37" fmla="*/ 988 h 1306"/>
                <a:gd name="T38" fmla="*/ 755 w 1508"/>
                <a:gd name="T39" fmla="*/ 965 h 1306"/>
                <a:gd name="T40" fmla="*/ 808 w 1508"/>
                <a:gd name="T41" fmla="*/ 988 h 1306"/>
                <a:gd name="T42" fmla="*/ 830 w 1508"/>
                <a:gd name="T43" fmla="*/ 1041 h 1306"/>
                <a:gd name="T44" fmla="*/ 808 w 1508"/>
                <a:gd name="T45" fmla="*/ 1095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08" h="1306">
                  <a:moveTo>
                    <a:pt x="1504" y="1291"/>
                  </a:moveTo>
                  <a:cubicBezTo>
                    <a:pt x="763" y="7"/>
                    <a:pt x="763" y="7"/>
                    <a:pt x="763" y="7"/>
                  </a:cubicBezTo>
                  <a:cubicBezTo>
                    <a:pt x="759" y="0"/>
                    <a:pt x="749" y="0"/>
                    <a:pt x="745" y="7"/>
                  </a:cubicBezTo>
                  <a:cubicBezTo>
                    <a:pt x="4" y="1291"/>
                    <a:pt x="4" y="1291"/>
                    <a:pt x="4" y="1291"/>
                  </a:cubicBezTo>
                  <a:cubicBezTo>
                    <a:pt x="0" y="1298"/>
                    <a:pt x="5" y="1306"/>
                    <a:pt x="13" y="1306"/>
                  </a:cubicBezTo>
                  <a:cubicBezTo>
                    <a:pt x="1495" y="1306"/>
                    <a:pt x="1495" y="1306"/>
                    <a:pt x="1495" y="1306"/>
                  </a:cubicBezTo>
                  <a:cubicBezTo>
                    <a:pt x="1503" y="1306"/>
                    <a:pt x="1508" y="1298"/>
                    <a:pt x="1504" y="1291"/>
                  </a:cubicBezTo>
                  <a:close/>
                  <a:moveTo>
                    <a:pt x="694" y="419"/>
                  </a:moveTo>
                  <a:cubicBezTo>
                    <a:pt x="814" y="419"/>
                    <a:pt x="814" y="419"/>
                    <a:pt x="814" y="419"/>
                  </a:cubicBezTo>
                  <a:cubicBezTo>
                    <a:pt x="814" y="608"/>
                    <a:pt x="814" y="608"/>
                    <a:pt x="814" y="608"/>
                  </a:cubicBezTo>
                  <a:cubicBezTo>
                    <a:pt x="814" y="669"/>
                    <a:pt x="803" y="778"/>
                    <a:pt x="778" y="932"/>
                  </a:cubicBezTo>
                  <a:cubicBezTo>
                    <a:pt x="730" y="932"/>
                    <a:pt x="730" y="932"/>
                    <a:pt x="730" y="932"/>
                  </a:cubicBezTo>
                  <a:cubicBezTo>
                    <a:pt x="706" y="778"/>
                    <a:pt x="694" y="669"/>
                    <a:pt x="694" y="608"/>
                  </a:cubicBezTo>
                  <a:lnTo>
                    <a:pt x="694" y="419"/>
                  </a:lnTo>
                  <a:close/>
                  <a:moveTo>
                    <a:pt x="808" y="1095"/>
                  </a:moveTo>
                  <a:cubicBezTo>
                    <a:pt x="794" y="1110"/>
                    <a:pt x="776" y="1117"/>
                    <a:pt x="755" y="1117"/>
                  </a:cubicBezTo>
                  <a:cubicBezTo>
                    <a:pt x="733" y="1117"/>
                    <a:pt x="715" y="1110"/>
                    <a:pt x="701" y="1095"/>
                  </a:cubicBezTo>
                  <a:cubicBezTo>
                    <a:pt x="686" y="1080"/>
                    <a:pt x="678" y="1063"/>
                    <a:pt x="678" y="1041"/>
                  </a:cubicBezTo>
                  <a:cubicBezTo>
                    <a:pt x="678" y="1020"/>
                    <a:pt x="686" y="1002"/>
                    <a:pt x="701" y="988"/>
                  </a:cubicBezTo>
                  <a:cubicBezTo>
                    <a:pt x="715" y="973"/>
                    <a:pt x="733" y="965"/>
                    <a:pt x="755" y="965"/>
                  </a:cubicBezTo>
                  <a:cubicBezTo>
                    <a:pt x="776" y="965"/>
                    <a:pt x="794" y="973"/>
                    <a:pt x="808" y="988"/>
                  </a:cubicBezTo>
                  <a:cubicBezTo>
                    <a:pt x="823" y="1002"/>
                    <a:pt x="830" y="1020"/>
                    <a:pt x="830" y="1041"/>
                  </a:cubicBezTo>
                  <a:cubicBezTo>
                    <a:pt x="830" y="1063"/>
                    <a:pt x="823" y="1080"/>
                    <a:pt x="808" y="109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908" y="1984963"/>
            <a:ext cx="3280158" cy="2067980"/>
          </a:xfrm>
          <a:prstGeom prst="rect">
            <a:avLst/>
          </a:prstGeom>
        </p:spPr>
      </p:pic>
      <p:pic>
        <p:nvPicPr>
          <p:cNvPr id="23" name="Picture 6" descr="https://v-count.com/wp-content/uploads/2018/03/Heatmap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29" r="3147"/>
          <a:stretch/>
        </p:blipFill>
        <p:spPr bwMode="auto">
          <a:xfrm>
            <a:off x="7970808" y="1984963"/>
            <a:ext cx="3260785" cy="2103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14" name="Picture 2" descr="https://miro.medium.com/max/758/0*MI6hiWIBXPQbJW8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560" y="1984963"/>
            <a:ext cx="3267737" cy="2103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  <p:sp>
        <p:nvSpPr>
          <p:cNvPr id="28" name="ee4pFootnotes"/>
          <p:cNvSpPr>
            <a:spLocks noChangeArrowheads="1"/>
          </p:cNvSpPr>
          <p:nvPr/>
        </p:nvSpPr>
        <p:spPr bwMode="auto">
          <a:xfrm>
            <a:off x="788808" y="6344273"/>
            <a:ext cx="7182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KoçDigital</a:t>
            </a:r>
          </a:p>
        </p:txBody>
      </p:sp>
    </p:spTree>
    <p:extLst>
      <p:ext uri="{BB962C8B-B14F-4D97-AF65-F5344CB8AC3E}">
        <p14:creationId xmlns:p14="http://schemas.microsoft.com/office/powerpoint/2010/main" val="389867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999" y="622800"/>
            <a:ext cx="11390365" cy="387798"/>
          </a:xfrm>
        </p:spPr>
        <p:txBody>
          <a:bodyPr/>
          <a:lstStyle/>
          <a:p>
            <a:r>
              <a:rPr lang="en-US" sz="2800" dirty="0"/>
              <a:t>Video Analytics</a:t>
            </a:r>
            <a:r>
              <a:rPr lang="tr-TR" sz="2800" dirty="0"/>
              <a:t> </a:t>
            </a:r>
            <a:r>
              <a:rPr lang="en-US" sz="2800" dirty="0"/>
              <a:t>Solution Family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01671" y="2912627"/>
            <a:ext cx="10625918" cy="1692000"/>
          </a:xfrm>
          <a:prstGeom prst="rect">
            <a:avLst/>
          </a:prstGeom>
          <a:solidFill>
            <a:srgbClr val="2E355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01671" y="1163505"/>
            <a:ext cx="3488589" cy="169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270336" y="1163504"/>
            <a:ext cx="3488589" cy="169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  <a:latin typeface="Trebuchet MS" panose="020B0603020202020204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839000" y="1163504"/>
            <a:ext cx="3488589" cy="1692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dirty="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01671" y="4679001"/>
            <a:ext cx="10625918" cy="1692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grpSp>
        <p:nvGrpSpPr>
          <p:cNvPr id="31" name="Group 30"/>
          <p:cNvGrpSpPr>
            <a:grpSpLocks noChangeAspect="1"/>
          </p:cNvGrpSpPr>
          <p:nvPr/>
        </p:nvGrpSpPr>
        <p:grpSpPr>
          <a:xfrm>
            <a:off x="2192290" y="5228472"/>
            <a:ext cx="620515" cy="620515"/>
            <a:chOff x="5278438" y="2605088"/>
            <a:chExt cx="1646237" cy="1646237"/>
          </a:xfrm>
        </p:grpSpPr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</p:grpSp>
      </p:grpSp>
      <p:sp>
        <p:nvSpPr>
          <p:cNvPr id="36" name="Rectangle 35"/>
          <p:cNvSpPr/>
          <p:nvPr/>
        </p:nvSpPr>
        <p:spPr>
          <a:xfrm>
            <a:off x="3314892" y="3136453"/>
            <a:ext cx="5415043" cy="2492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Video Analytics Platform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191437" y="4798362"/>
            <a:ext cx="5415043" cy="2492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Hardwar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628808" y="1498741"/>
            <a:ext cx="2446195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afety</a:t>
            </a: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&amp; Secur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Area viol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rotective equipment usag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Handrail usag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5674" y="1508749"/>
            <a:ext cx="2108511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Trebuchet MS" panose="020B0603020202020204"/>
              </a:rPr>
              <a:t>Predictive Qualit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Defect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/>
              </a:rPr>
              <a:t>Scratch detec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Trebuchet MS" panose="020B0603020202020204"/>
              </a:rPr>
              <a:t>Pattern continuity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976463" y="1525053"/>
            <a:ext cx="2011229" cy="105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Trebuchet MS" panose="020B0603020202020204"/>
              </a:rPr>
              <a:t>Retail Pack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Customer cou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Demographic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</a:rPr>
              <a:t>Object detection</a:t>
            </a:r>
          </a:p>
        </p:txBody>
      </p:sp>
      <p:sp>
        <p:nvSpPr>
          <p:cNvPr id="43" name="Rectangle 42"/>
          <p:cNvSpPr/>
          <p:nvPr/>
        </p:nvSpPr>
        <p:spPr>
          <a:xfrm>
            <a:off x="1926811" y="5821319"/>
            <a:ext cx="1102107" cy="2559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Server</a:t>
            </a:r>
          </a:p>
          <a:p>
            <a:pPr algn="ctr">
              <a:defRPr/>
            </a:pP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(GPU, Ram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507684" y="5821319"/>
            <a:ext cx="1905532" cy="2369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Camera </a:t>
            </a:r>
          </a:p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(IP, Thermal,</a:t>
            </a:r>
            <a:r>
              <a:rPr kumimoji="0" lang="en-US" sz="1100" i="1" u="none" strike="noStrike" kern="1200" cap="none" spc="0" normalizeH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 Line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617922" y="5821319"/>
            <a:ext cx="2194787" cy="1758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Edge</a:t>
            </a:r>
          </a:p>
          <a:p>
            <a:pPr algn="ctr">
              <a:defRPr/>
            </a:pP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(</a:t>
            </a:r>
            <a:r>
              <a:rPr lang="en-US" sz="1100" i="1" dirty="0" err="1">
                <a:solidFill>
                  <a:schemeClr val="bg1"/>
                </a:solidFill>
                <a:latin typeface="Trebuchet MS" panose="020B0603020202020204"/>
              </a:rPr>
              <a:t>Nvidia</a:t>
            </a: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 Jetson, Rasp, Custom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147738" y="5821319"/>
            <a:ext cx="2053063" cy="175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1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/>
              </a:rPr>
              <a:t>Cloud (PaaS)</a:t>
            </a:r>
          </a:p>
          <a:p>
            <a:pPr algn="ctr">
              <a:defRPr/>
            </a:pPr>
            <a:r>
              <a:rPr lang="en-US" sz="1100" i="1" dirty="0">
                <a:solidFill>
                  <a:schemeClr val="bg1"/>
                </a:solidFill>
                <a:latin typeface="Trebuchet MS" panose="020B0603020202020204"/>
              </a:rPr>
              <a:t>(Private, Public, Hybrid)</a:t>
            </a:r>
            <a:endParaRPr lang="en-US" sz="105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8854582" y="5412293"/>
            <a:ext cx="615786" cy="385091"/>
            <a:chOff x="2798862" y="2973273"/>
            <a:chExt cx="1921569" cy="1201681"/>
          </a:xfrm>
        </p:grpSpPr>
        <p:sp>
          <p:nvSpPr>
            <p:cNvPr id="48" name="Freeform 16"/>
            <p:cNvSpPr>
              <a:spLocks noEditPoints="1"/>
            </p:cNvSpPr>
            <p:nvPr/>
          </p:nvSpPr>
          <p:spPr bwMode="auto">
            <a:xfrm>
              <a:off x="2798862" y="2973273"/>
              <a:ext cx="1921569" cy="1201681"/>
            </a:xfrm>
            <a:custGeom>
              <a:avLst/>
              <a:gdLst>
                <a:gd name="T0" fmla="*/ 585 w 1562"/>
                <a:gd name="T1" fmla="*/ 44 h 1088"/>
                <a:gd name="T2" fmla="*/ 782 w 1562"/>
                <a:gd name="T3" fmla="*/ 109 h 1088"/>
                <a:gd name="T4" fmla="*/ 883 w 1562"/>
                <a:gd name="T5" fmla="*/ 233 h 1088"/>
                <a:gd name="T6" fmla="*/ 918 w 1562"/>
                <a:gd name="T7" fmla="*/ 230 h 1088"/>
                <a:gd name="T8" fmla="*/ 1089 w 1562"/>
                <a:gd name="T9" fmla="*/ 345 h 1088"/>
                <a:gd name="T10" fmla="*/ 1139 w 1562"/>
                <a:gd name="T11" fmla="*/ 340 h 1088"/>
                <a:gd name="T12" fmla="*/ 1337 w 1562"/>
                <a:gd name="T13" fmla="*/ 449 h 1088"/>
                <a:gd name="T14" fmla="*/ 1518 w 1562"/>
                <a:gd name="T15" fmla="*/ 687 h 1088"/>
                <a:gd name="T16" fmla="*/ 1269 w 1562"/>
                <a:gd name="T17" fmla="*/ 934 h 1088"/>
                <a:gd name="T18" fmla="*/ 1247 w 1562"/>
                <a:gd name="T19" fmla="*/ 934 h 1088"/>
                <a:gd name="T20" fmla="*/ 1102 w 1562"/>
                <a:gd name="T21" fmla="*/ 984 h 1088"/>
                <a:gd name="T22" fmla="*/ 1000 w 1562"/>
                <a:gd name="T23" fmla="*/ 961 h 1088"/>
                <a:gd name="T24" fmla="*/ 849 w 1562"/>
                <a:gd name="T25" fmla="*/ 1009 h 1088"/>
                <a:gd name="T26" fmla="*/ 702 w 1562"/>
                <a:gd name="T27" fmla="*/ 964 h 1088"/>
                <a:gd name="T28" fmla="*/ 491 w 1562"/>
                <a:gd name="T29" fmla="*/ 1044 h 1088"/>
                <a:gd name="T30" fmla="*/ 236 w 1562"/>
                <a:gd name="T31" fmla="*/ 916 h 1088"/>
                <a:gd name="T32" fmla="*/ 44 w 1562"/>
                <a:gd name="T33" fmla="*/ 642 h 1088"/>
                <a:gd name="T34" fmla="*/ 117 w 1562"/>
                <a:gd name="T35" fmla="*/ 450 h 1088"/>
                <a:gd name="T36" fmla="*/ 257 w 1562"/>
                <a:gd name="T37" fmla="*/ 362 h 1088"/>
                <a:gd name="T38" fmla="*/ 585 w 1562"/>
                <a:gd name="T39" fmla="*/ 44 h 1088"/>
                <a:gd name="T40" fmla="*/ 585 w 1562"/>
                <a:gd name="T41" fmla="*/ 0 h 1088"/>
                <a:gd name="T42" fmla="*/ 324 w 1562"/>
                <a:gd name="T43" fmla="*/ 106 h 1088"/>
                <a:gd name="T44" fmla="*/ 215 w 1562"/>
                <a:gd name="T45" fmla="*/ 330 h 1088"/>
                <a:gd name="T46" fmla="*/ 84 w 1562"/>
                <a:gd name="T47" fmla="*/ 421 h 1088"/>
                <a:gd name="T48" fmla="*/ 0 w 1562"/>
                <a:gd name="T49" fmla="*/ 642 h 1088"/>
                <a:gd name="T50" fmla="*/ 61 w 1562"/>
                <a:gd name="T51" fmla="*/ 835 h 1088"/>
                <a:gd name="T52" fmla="*/ 209 w 1562"/>
                <a:gd name="T53" fmla="*/ 952 h 1088"/>
                <a:gd name="T54" fmla="*/ 329 w 1562"/>
                <a:gd name="T55" fmla="*/ 1049 h 1088"/>
                <a:gd name="T56" fmla="*/ 491 w 1562"/>
                <a:gd name="T57" fmla="*/ 1088 h 1088"/>
                <a:gd name="T58" fmla="*/ 706 w 1562"/>
                <a:gd name="T59" fmla="*/ 1018 h 1088"/>
                <a:gd name="T60" fmla="*/ 849 w 1562"/>
                <a:gd name="T61" fmla="*/ 1053 h 1088"/>
                <a:gd name="T62" fmla="*/ 1004 w 1562"/>
                <a:gd name="T63" fmla="*/ 1011 h 1088"/>
                <a:gd name="T64" fmla="*/ 1102 w 1562"/>
                <a:gd name="T65" fmla="*/ 1028 h 1088"/>
                <a:gd name="T66" fmla="*/ 1261 w 1562"/>
                <a:gd name="T67" fmla="*/ 978 h 1088"/>
                <a:gd name="T68" fmla="*/ 1269 w 1562"/>
                <a:gd name="T69" fmla="*/ 978 h 1088"/>
                <a:gd name="T70" fmla="*/ 1562 w 1562"/>
                <a:gd name="T71" fmla="*/ 687 h 1088"/>
                <a:gd name="T72" fmla="*/ 1365 w 1562"/>
                <a:gd name="T73" fmla="*/ 412 h 1088"/>
                <a:gd name="T74" fmla="*/ 1139 w 1562"/>
                <a:gd name="T75" fmla="*/ 296 h 1088"/>
                <a:gd name="T76" fmla="*/ 1114 w 1562"/>
                <a:gd name="T77" fmla="*/ 297 h 1088"/>
                <a:gd name="T78" fmla="*/ 1046 w 1562"/>
                <a:gd name="T79" fmla="*/ 226 h 1088"/>
                <a:gd name="T80" fmla="*/ 918 w 1562"/>
                <a:gd name="T81" fmla="*/ 186 h 1088"/>
                <a:gd name="T82" fmla="*/ 908 w 1562"/>
                <a:gd name="T83" fmla="*/ 186 h 1088"/>
                <a:gd name="T84" fmla="*/ 808 w 1562"/>
                <a:gd name="T85" fmla="*/ 74 h 1088"/>
                <a:gd name="T86" fmla="*/ 585 w 1562"/>
                <a:gd name="T87" fmla="*/ 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62" h="1088">
                  <a:moveTo>
                    <a:pt x="585" y="44"/>
                  </a:moveTo>
                  <a:cubicBezTo>
                    <a:pt x="656" y="44"/>
                    <a:pt x="725" y="66"/>
                    <a:pt x="782" y="109"/>
                  </a:cubicBezTo>
                  <a:cubicBezTo>
                    <a:pt x="825" y="142"/>
                    <a:pt x="860" y="185"/>
                    <a:pt x="883" y="233"/>
                  </a:cubicBezTo>
                  <a:cubicBezTo>
                    <a:pt x="894" y="231"/>
                    <a:pt x="906" y="230"/>
                    <a:pt x="918" y="230"/>
                  </a:cubicBezTo>
                  <a:cubicBezTo>
                    <a:pt x="994" y="230"/>
                    <a:pt x="1061" y="277"/>
                    <a:pt x="1089" y="345"/>
                  </a:cubicBezTo>
                  <a:cubicBezTo>
                    <a:pt x="1106" y="342"/>
                    <a:pt x="1122" y="340"/>
                    <a:pt x="1139" y="340"/>
                  </a:cubicBezTo>
                  <a:cubicBezTo>
                    <a:pt x="1221" y="340"/>
                    <a:pt x="1295" y="381"/>
                    <a:pt x="1337" y="449"/>
                  </a:cubicBezTo>
                  <a:cubicBezTo>
                    <a:pt x="1443" y="479"/>
                    <a:pt x="1518" y="576"/>
                    <a:pt x="1518" y="687"/>
                  </a:cubicBezTo>
                  <a:cubicBezTo>
                    <a:pt x="1518" y="823"/>
                    <a:pt x="1406" y="934"/>
                    <a:pt x="1269" y="934"/>
                  </a:cubicBezTo>
                  <a:cubicBezTo>
                    <a:pt x="1247" y="934"/>
                    <a:pt x="1247" y="934"/>
                    <a:pt x="1247" y="934"/>
                  </a:cubicBezTo>
                  <a:cubicBezTo>
                    <a:pt x="1206" y="966"/>
                    <a:pt x="1155" y="984"/>
                    <a:pt x="1102" y="984"/>
                  </a:cubicBezTo>
                  <a:cubicBezTo>
                    <a:pt x="1066" y="984"/>
                    <a:pt x="1031" y="976"/>
                    <a:pt x="1000" y="961"/>
                  </a:cubicBezTo>
                  <a:cubicBezTo>
                    <a:pt x="956" y="992"/>
                    <a:pt x="903" y="1009"/>
                    <a:pt x="849" y="1009"/>
                  </a:cubicBezTo>
                  <a:cubicBezTo>
                    <a:pt x="796" y="1009"/>
                    <a:pt x="745" y="993"/>
                    <a:pt x="702" y="964"/>
                  </a:cubicBezTo>
                  <a:cubicBezTo>
                    <a:pt x="644" y="1015"/>
                    <a:pt x="570" y="1044"/>
                    <a:pt x="491" y="1044"/>
                  </a:cubicBezTo>
                  <a:cubicBezTo>
                    <a:pt x="390" y="1044"/>
                    <a:pt x="296" y="996"/>
                    <a:pt x="236" y="916"/>
                  </a:cubicBezTo>
                  <a:cubicBezTo>
                    <a:pt x="121" y="874"/>
                    <a:pt x="44" y="765"/>
                    <a:pt x="44" y="642"/>
                  </a:cubicBezTo>
                  <a:cubicBezTo>
                    <a:pt x="44" y="571"/>
                    <a:pt x="70" y="503"/>
                    <a:pt x="117" y="450"/>
                  </a:cubicBezTo>
                  <a:cubicBezTo>
                    <a:pt x="154" y="408"/>
                    <a:pt x="203" y="378"/>
                    <a:pt x="257" y="362"/>
                  </a:cubicBezTo>
                  <a:cubicBezTo>
                    <a:pt x="260" y="186"/>
                    <a:pt x="406" y="44"/>
                    <a:pt x="585" y="44"/>
                  </a:cubicBezTo>
                  <a:moveTo>
                    <a:pt x="585" y="0"/>
                  </a:moveTo>
                  <a:cubicBezTo>
                    <a:pt x="487" y="0"/>
                    <a:pt x="394" y="37"/>
                    <a:pt x="324" y="106"/>
                  </a:cubicBezTo>
                  <a:cubicBezTo>
                    <a:pt x="262" y="166"/>
                    <a:pt x="224" y="245"/>
                    <a:pt x="215" y="330"/>
                  </a:cubicBezTo>
                  <a:cubicBezTo>
                    <a:pt x="165" y="350"/>
                    <a:pt x="120" y="381"/>
                    <a:pt x="84" y="421"/>
                  </a:cubicBezTo>
                  <a:cubicBezTo>
                    <a:pt x="30" y="482"/>
                    <a:pt x="0" y="561"/>
                    <a:pt x="0" y="642"/>
                  </a:cubicBezTo>
                  <a:cubicBezTo>
                    <a:pt x="0" y="712"/>
                    <a:pt x="21" y="778"/>
                    <a:pt x="61" y="835"/>
                  </a:cubicBezTo>
                  <a:cubicBezTo>
                    <a:pt x="98" y="887"/>
                    <a:pt x="149" y="928"/>
                    <a:pt x="209" y="952"/>
                  </a:cubicBezTo>
                  <a:cubicBezTo>
                    <a:pt x="241" y="993"/>
                    <a:pt x="282" y="1026"/>
                    <a:pt x="329" y="1049"/>
                  </a:cubicBezTo>
                  <a:cubicBezTo>
                    <a:pt x="379" y="1075"/>
                    <a:pt x="435" y="1088"/>
                    <a:pt x="491" y="1088"/>
                  </a:cubicBezTo>
                  <a:cubicBezTo>
                    <a:pt x="569" y="1088"/>
                    <a:pt x="644" y="1063"/>
                    <a:pt x="706" y="1018"/>
                  </a:cubicBezTo>
                  <a:cubicBezTo>
                    <a:pt x="750" y="1041"/>
                    <a:pt x="798" y="1053"/>
                    <a:pt x="849" y="1053"/>
                  </a:cubicBezTo>
                  <a:cubicBezTo>
                    <a:pt x="904" y="1053"/>
                    <a:pt x="957" y="1039"/>
                    <a:pt x="1004" y="1011"/>
                  </a:cubicBezTo>
                  <a:cubicBezTo>
                    <a:pt x="1035" y="1022"/>
                    <a:pt x="1068" y="1028"/>
                    <a:pt x="1102" y="1028"/>
                  </a:cubicBezTo>
                  <a:cubicBezTo>
                    <a:pt x="1159" y="1028"/>
                    <a:pt x="1215" y="1010"/>
                    <a:pt x="1261" y="978"/>
                  </a:cubicBezTo>
                  <a:cubicBezTo>
                    <a:pt x="1269" y="978"/>
                    <a:pt x="1269" y="978"/>
                    <a:pt x="1269" y="978"/>
                  </a:cubicBezTo>
                  <a:cubicBezTo>
                    <a:pt x="1431" y="978"/>
                    <a:pt x="1562" y="847"/>
                    <a:pt x="1562" y="687"/>
                  </a:cubicBezTo>
                  <a:cubicBezTo>
                    <a:pt x="1562" y="563"/>
                    <a:pt x="1482" y="452"/>
                    <a:pt x="1365" y="412"/>
                  </a:cubicBezTo>
                  <a:cubicBezTo>
                    <a:pt x="1314" y="339"/>
                    <a:pt x="1231" y="296"/>
                    <a:pt x="1139" y="296"/>
                  </a:cubicBezTo>
                  <a:cubicBezTo>
                    <a:pt x="1131" y="296"/>
                    <a:pt x="1122" y="296"/>
                    <a:pt x="1114" y="297"/>
                  </a:cubicBezTo>
                  <a:cubicBezTo>
                    <a:pt x="1097" y="269"/>
                    <a:pt x="1074" y="245"/>
                    <a:pt x="1046" y="226"/>
                  </a:cubicBezTo>
                  <a:cubicBezTo>
                    <a:pt x="1008" y="200"/>
                    <a:pt x="964" y="186"/>
                    <a:pt x="918" y="186"/>
                  </a:cubicBezTo>
                  <a:cubicBezTo>
                    <a:pt x="914" y="186"/>
                    <a:pt x="911" y="186"/>
                    <a:pt x="908" y="186"/>
                  </a:cubicBezTo>
                  <a:cubicBezTo>
                    <a:pt x="883" y="142"/>
                    <a:pt x="849" y="104"/>
                    <a:pt x="808" y="74"/>
                  </a:cubicBezTo>
                  <a:cubicBezTo>
                    <a:pt x="743" y="25"/>
                    <a:pt x="666" y="0"/>
                    <a:pt x="585" y="0"/>
                  </a:cubicBezTo>
                  <a:close/>
                </a:path>
              </a:pathLst>
            </a:custGeom>
            <a:solidFill>
              <a:srgbClr val="9A9A9A"/>
            </a:solidFill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817672" y="3308713"/>
              <a:ext cx="1678902" cy="51227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1600" dirty="0"/>
            </a:p>
          </p:txBody>
        </p:sp>
      </p:grpSp>
      <p:grpSp>
        <p:nvGrpSpPr>
          <p:cNvPr id="53" name="bcgIcons_Network">
            <a:extLst>
              <a:ext uri="{FF2B5EF4-FFF2-40B4-BE49-F238E27FC236}">
                <a16:creationId xmlns:a16="http://schemas.microsoft.com/office/drawing/2014/main" id="{1552B4E7-8819-4A5B-BAA2-B1CF810393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19525" y="5273470"/>
            <a:ext cx="591580" cy="592129"/>
            <a:chOff x="1682" y="0"/>
            <a:chExt cx="4316" cy="4320"/>
          </a:xfrm>
        </p:grpSpPr>
        <p:sp>
          <p:nvSpPr>
            <p:cNvPr id="54" name="AutoShape 24">
              <a:extLst>
                <a:ext uri="{FF2B5EF4-FFF2-40B4-BE49-F238E27FC236}">
                  <a16:creationId xmlns:a16="http://schemas.microsoft.com/office/drawing/2014/main" id="{F3249088-1FEF-4F4D-B4DD-F2FB6793247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91F0DE8E-7721-4BF8-9C4E-7069412A8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626"/>
              <a:ext cx="2630" cy="3068"/>
            </a:xfrm>
            <a:custGeom>
              <a:avLst/>
              <a:gdLst>
                <a:gd name="T0" fmla="*/ 1189 w 2630"/>
                <a:gd name="T1" fmla="*/ 1962 h 3068"/>
                <a:gd name="T2" fmla="*/ 880 w 2630"/>
                <a:gd name="T3" fmla="*/ 1783 h 3068"/>
                <a:gd name="T4" fmla="*/ 880 w 2630"/>
                <a:gd name="T5" fmla="*/ 1427 h 3068"/>
                <a:gd name="T6" fmla="*/ 1189 w 2630"/>
                <a:gd name="T7" fmla="*/ 1605 h 3068"/>
                <a:gd name="T8" fmla="*/ 1189 w 2630"/>
                <a:gd name="T9" fmla="*/ 1962 h 3068"/>
                <a:gd name="T10" fmla="*/ 1313 w 2630"/>
                <a:gd name="T11" fmla="*/ 1392 h 3068"/>
                <a:gd name="T12" fmla="*/ 1622 w 2630"/>
                <a:gd name="T13" fmla="*/ 1213 h 3068"/>
                <a:gd name="T14" fmla="*/ 1313 w 2630"/>
                <a:gd name="T15" fmla="*/ 1035 h 3068"/>
                <a:gd name="T16" fmla="*/ 1004 w 2630"/>
                <a:gd name="T17" fmla="*/ 1213 h 3068"/>
                <a:gd name="T18" fmla="*/ 1313 w 2630"/>
                <a:gd name="T19" fmla="*/ 1392 h 3068"/>
                <a:gd name="T20" fmla="*/ 1437 w 2630"/>
                <a:gd name="T21" fmla="*/ 1605 h 3068"/>
                <a:gd name="T22" fmla="*/ 1437 w 2630"/>
                <a:gd name="T23" fmla="*/ 1962 h 3068"/>
                <a:gd name="T24" fmla="*/ 1746 w 2630"/>
                <a:gd name="T25" fmla="*/ 1783 h 3068"/>
                <a:gd name="T26" fmla="*/ 1746 w 2630"/>
                <a:gd name="T27" fmla="*/ 1427 h 3068"/>
                <a:gd name="T28" fmla="*/ 1437 w 2630"/>
                <a:gd name="T29" fmla="*/ 1605 h 3068"/>
                <a:gd name="T30" fmla="*/ 1313 w 2630"/>
                <a:gd name="T31" fmla="*/ 373 h 3068"/>
                <a:gd name="T32" fmla="*/ 1474 w 2630"/>
                <a:gd name="T33" fmla="*/ 280 h 3068"/>
                <a:gd name="T34" fmla="*/ 1474 w 2630"/>
                <a:gd name="T35" fmla="*/ 94 h 3068"/>
                <a:gd name="T36" fmla="*/ 1313 w 2630"/>
                <a:gd name="T37" fmla="*/ 0 h 3068"/>
                <a:gd name="T38" fmla="*/ 1152 w 2630"/>
                <a:gd name="T39" fmla="*/ 94 h 3068"/>
                <a:gd name="T40" fmla="*/ 1152 w 2630"/>
                <a:gd name="T41" fmla="*/ 280 h 3068"/>
                <a:gd name="T42" fmla="*/ 1313 w 2630"/>
                <a:gd name="T43" fmla="*/ 373 h 3068"/>
                <a:gd name="T44" fmla="*/ 1313 w 2630"/>
                <a:gd name="T45" fmla="*/ 3068 h 3068"/>
                <a:gd name="T46" fmla="*/ 1474 w 2630"/>
                <a:gd name="T47" fmla="*/ 2974 h 3068"/>
                <a:gd name="T48" fmla="*/ 1474 w 2630"/>
                <a:gd name="T49" fmla="*/ 2788 h 3068"/>
                <a:gd name="T50" fmla="*/ 1313 w 2630"/>
                <a:gd name="T51" fmla="*/ 2695 h 3068"/>
                <a:gd name="T52" fmla="*/ 1152 w 2630"/>
                <a:gd name="T53" fmla="*/ 2788 h 3068"/>
                <a:gd name="T54" fmla="*/ 1152 w 2630"/>
                <a:gd name="T55" fmla="*/ 2974 h 3068"/>
                <a:gd name="T56" fmla="*/ 1313 w 2630"/>
                <a:gd name="T57" fmla="*/ 3068 h 3068"/>
                <a:gd name="T58" fmla="*/ 2469 w 2630"/>
                <a:gd name="T59" fmla="*/ 2393 h 3068"/>
                <a:gd name="T60" fmla="*/ 2630 w 2630"/>
                <a:gd name="T61" fmla="*/ 2299 h 3068"/>
                <a:gd name="T62" fmla="*/ 2630 w 2630"/>
                <a:gd name="T63" fmla="*/ 2113 h 3068"/>
                <a:gd name="T64" fmla="*/ 2469 w 2630"/>
                <a:gd name="T65" fmla="*/ 2020 h 3068"/>
                <a:gd name="T66" fmla="*/ 2308 w 2630"/>
                <a:gd name="T67" fmla="*/ 2113 h 3068"/>
                <a:gd name="T68" fmla="*/ 2308 w 2630"/>
                <a:gd name="T69" fmla="*/ 2299 h 3068"/>
                <a:gd name="T70" fmla="*/ 2469 w 2630"/>
                <a:gd name="T71" fmla="*/ 2393 h 3068"/>
                <a:gd name="T72" fmla="*/ 2469 w 2630"/>
                <a:gd name="T73" fmla="*/ 1048 h 3068"/>
                <a:gd name="T74" fmla="*/ 2630 w 2630"/>
                <a:gd name="T75" fmla="*/ 955 h 3068"/>
                <a:gd name="T76" fmla="*/ 2630 w 2630"/>
                <a:gd name="T77" fmla="*/ 769 h 3068"/>
                <a:gd name="T78" fmla="*/ 2469 w 2630"/>
                <a:gd name="T79" fmla="*/ 675 h 3068"/>
                <a:gd name="T80" fmla="*/ 2308 w 2630"/>
                <a:gd name="T81" fmla="*/ 769 h 3068"/>
                <a:gd name="T82" fmla="*/ 2308 w 2630"/>
                <a:gd name="T83" fmla="*/ 955 h 3068"/>
                <a:gd name="T84" fmla="*/ 2469 w 2630"/>
                <a:gd name="T85" fmla="*/ 1048 h 3068"/>
                <a:gd name="T86" fmla="*/ 161 w 2630"/>
                <a:gd name="T87" fmla="*/ 2393 h 3068"/>
                <a:gd name="T88" fmla="*/ 322 w 2630"/>
                <a:gd name="T89" fmla="*/ 2299 h 3068"/>
                <a:gd name="T90" fmla="*/ 322 w 2630"/>
                <a:gd name="T91" fmla="*/ 2113 h 3068"/>
                <a:gd name="T92" fmla="*/ 161 w 2630"/>
                <a:gd name="T93" fmla="*/ 2020 h 3068"/>
                <a:gd name="T94" fmla="*/ 0 w 2630"/>
                <a:gd name="T95" fmla="*/ 2113 h 3068"/>
                <a:gd name="T96" fmla="*/ 0 w 2630"/>
                <a:gd name="T97" fmla="*/ 2299 h 3068"/>
                <a:gd name="T98" fmla="*/ 161 w 2630"/>
                <a:gd name="T99" fmla="*/ 2393 h 3068"/>
                <a:gd name="T100" fmla="*/ 161 w 2630"/>
                <a:gd name="T101" fmla="*/ 1048 h 3068"/>
                <a:gd name="T102" fmla="*/ 322 w 2630"/>
                <a:gd name="T103" fmla="*/ 955 h 3068"/>
                <a:gd name="T104" fmla="*/ 322 w 2630"/>
                <a:gd name="T105" fmla="*/ 769 h 3068"/>
                <a:gd name="T106" fmla="*/ 161 w 2630"/>
                <a:gd name="T107" fmla="*/ 675 h 3068"/>
                <a:gd name="T108" fmla="*/ 0 w 2630"/>
                <a:gd name="T109" fmla="*/ 769 h 3068"/>
                <a:gd name="T110" fmla="*/ 0 w 2630"/>
                <a:gd name="T111" fmla="*/ 955 h 3068"/>
                <a:gd name="T112" fmla="*/ 161 w 2630"/>
                <a:gd name="T113" fmla="*/ 1048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30" h="3068">
                  <a:moveTo>
                    <a:pt x="1189" y="1962"/>
                  </a:moveTo>
                  <a:lnTo>
                    <a:pt x="880" y="1783"/>
                  </a:lnTo>
                  <a:lnTo>
                    <a:pt x="880" y="1427"/>
                  </a:lnTo>
                  <a:lnTo>
                    <a:pt x="1189" y="1605"/>
                  </a:lnTo>
                  <a:lnTo>
                    <a:pt x="1189" y="1962"/>
                  </a:lnTo>
                  <a:close/>
                  <a:moveTo>
                    <a:pt x="1313" y="1392"/>
                  </a:moveTo>
                  <a:lnTo>
                    <a:pt x="1622" y="1213"/>
                  </a:lnTo>
                  <a:lnTo>
                    <a:pt x="1313" y="1035"/>
                  </a:lnTo>
                  <a:lnTo>
                    <a:pt x="1004" y="1213"/>
                  </a:lnTo>
                  <a:lnTo>
                    <a:pt x="1313" y="1392"/>
                  </a:lnTo>
                  <a:close/>
                  <a:moveTo>
                    <a:pt x="1437" y="1605"/>
                  </a:moveTo>
                  <a:lnTo>
                    <a:pt x="1437" y="1962"/>
                  </a:lnTo>
                  <a:lnTo>
                    <a:pt x="1746" y="1783"/>
                  </a:lnTo>
                  <a:lnTo>
                    <a:pt x="1746" y="1427"/>
                  </a:lnTo>
                  <a:lnTo>
                    <a:pt x="1437" y="1605"/>
                  </a:lnTo>
                  <a:close/>
                  <a:moveTo>
                    <a:pt x="1313" y="373"/>
                  </a:moveTo>
                  <a:lnTo>
                    <a:pt x="1474" y="280"/>
                  </a:lnTo>
                  <a:lnTo>
                    <a:pt x="1474" y="94"/>
                  </a:lnTo>
                  <a:lnTo>
                    <a:pt x="1313" y="0"/>
                  </a:lnTo>
                  <a:lnTo>
                    <a:pt x="1152" y="94"/>
                  </a:lnTo>
                  <a:lnTo>
                    <a:pt x="1152" y="280"/>
                  </a:lnTo>
                  <a:lnTo>
                    <a:pt x="1313" y="373"/>
                  </a:lnTo>
                  <a:close/>
                  <a:moveTo>
                    <a:pt x="1313" y="3068"/>
                  </a:moveTo>
                  <a:lnTo>
                    <a:pt x="1474" y="2974"/>
                  </a:lnTo>
                  <a:lnTo>
                    <a:pt x="1474" y="2788"/>
                  </a:lnTo>
                  <a:lnTo>
                    <a:pt x="1313" y="2695"/>
                  </a:lnTo>
                  <a:lnTo>
                    <a:pt x="1152" y="2788"/>
                  </a:lnTo>
                  <a:lnTo>
                    <a:pt x="1152" y="2974"/>
                  </a:lnTo>
                  <a:lnTo>
                    <a:pt x="1313" y="3068"/>
                  </a:lnTo>
                  <a:close/>
                  <a:moveTo>
                    <a:pt x="2469" y="2393"/>
                  </a:moveTo>
                  <a:lnTo>
                    <a:pt x="2630" y="2299"/>
                  </a:lnTo>
                  <a:lnTo>
                    <a:pt x="2630" y="2113"/>
                  </a:lnTo>
                  <a:lnTo>
                    <a:pt x="2469" y="2020"/>
                  </a:lnTo>
                  <a:lnTo>
                    <a:pt x="2308" y="2113"/>
                  </a:lnTo>
                  <a:lnTo>
                    <a:pt x="2308" y="2299"/>
                  </a:lnTo>
                  <a:lnTo>
                    <a:pt x="2469" y="2393"/>
                  </a:lnTo>
                  <a:close/>
                  <a:moveTo>
                    <a:pt x="2469" y="1048"/>
                  </a:moveTo>
                  <a:lnTo>
                    <a:pt x="2630" y="955"/>
                  </a:lnTo>
                  <a:lnTo>
                    <a:pt x="2630" y="769"/>
                  </a:lnTo>
                  <a:lnTo>
                    <a:pt x="2469" y="675"/>
                  </a:lnTo>
                  <a:lnTo>
                    <a:pt x="2308" y="769"/>
                  </a:lnTo>
                  <a:lnTo>
                    <a:pt x="2308" y="955"/>
                  </a:lnTo>
                  <a:lnTo>
                    <a:pt x="2469" y="1048"/>
                  </a:lnTo>
                  <a:close/>
                  <a:moveTo>
                    <a:pt x="161" y="2393"/>
                  </a:moveTo>
                  <a:lnTo>
                    <a:pt x="322" y="2299"/>
                  </a:lnTo>
                  <a:lnTo>
                    <a:pt x="322" y="2113"/>
                  </a:lnTo>
                  <a:lnTo>
                    <a:pt x="161" y="2020"/>
                  </a:lnTo>
                  <a:lnTo>
                    <a:pt x="0" y="2113"/>
                  </a:lnTo>
                  <a:lnTo>
                    <a:pt x="0" y="2299"/>
                  </a:lnTo>
                  <a:lnTo>
                    <a:pt x="161" y="2393"/>
                  </a:lnTo>
                  <a:close/>
                  <a:moveTo>
                    <a:pt x="161" y="1048"/>
                  </a:moveTo>
                  <a:lnTo>
                    <a:pt x="322" y="955"/>
                  </a:lnTo>
                  <a:lnTo>
                    <a:pt x="322" y="769"/>
                  </a:lnTo>
                  <a:lnTo>
                    <a:pt x="161" y="675"/>
                  </a:lnTo>
                  <a:lnTo>
                    <a:pt x="0" y="769"/>
                  </a:lnTo>
                  <a:lnTo>
                    <a:pt x="0" y="955"/>
                  </a:lnTo>
                  <a:lnTo>
                    <a:pt x="161" y="1048"/>
                  </a:ln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74172CEF-9D9E-4786-9D45-00CE9C9B9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441"/>
              <a:ext cx="2960" cy="3437"/>
            </a:xfrm>
            <a:custGeom>
              <a:avLst/>
              <a:gdLst>
                <a:gd name="T0" fmla="*/ 1395 w 1580"/>
                <a:gd name="T1" fmla="*/ 753 h 1833"/>
                <a:gd name="T2" fmla="*/ 1569 w 1580"/>
                <a:gd name="T3" fmla="*/ 665 h 1833"/>
                <a:gd name="T4" fmla="*/ 1569 w 1580"/>
                <a:gd name="T5" fmla="*/ 452 h 1833"/>
                <a:gd name="T6" fmla="*/ 1243 w 1580"/>
                <a:gd name="T7" fmla="*/ 452 h 1833"/>
                <a:gd name="T8" fmla="*/ 1086 w 1580"/>
                <a:gd name="T9" fmla="*/ 720 h 1833"/>
                <a:gd name="T10" fmla="*/ 952 w 1580"/>
                <a:gd name="T11" fmla="*/ 305 h 1833"/>
                <a:gd name="T12" fmla="*/ 952 w 1580"/>
                <a:gd name="T13" fmla="*/ 92 h 1833"/>
                <a:gd name="T14" fmla="*/ 626 w 1580"/>
                <a:gd name="T15" fmla="*/ 92 h 1833"/>
                <a:gd name="T16" fmla="*/ 626 w 1580"/>
                <a:gd name="T17" fmla="*/ 305 h 1833"/>
                <a:gd name="T18" fmla="*/ 492 w 1580"/>
                <a:gd name="T19" fmla="*/ 720 h 1833"/>
                <a:gd name="T20" fmla="*/ 337 w 1580"/>
                <a:gd name="T21" fmla="*/ 452 h 1833"/>
                <a:gd name="T22" fmla="*/ 11 w 1580"/>
                <a:gd name="T23" fmla="*/ 452 h 1833"/>
                <a:gd name="T24" fmla="*/ 11 w 1580"/>
                <a:gd name="T25" fmla="*/ 665 h 1833"/>
                <a:gd name="T26" fmla="*/ 185 w 1580"/>
                <a:gd name="T27" fmla="*/ 753 h 1833"/>
                <a:gd name="T28" fmla="*/ 470 w 1580"/>
                <a:gd name="T29" fmla="*/ 1076 h 1833"/>
                <a:gd name="T30" fmla="*/ 163 w 1580"/>
                <a:gd name="T31" fmla="*/ 1081 h 1833"/>
                <a:gd name="T32" fmla="*/ 0 w 1580"/>
                <a:gd name="T33" fmla="*/ 1363 h 1833"/>
                <a:gd name="T34" fmla="*/ 174 w 1580"/>
                <a:gd name="T35" fmla="*/ 1473 h 1833"/>
                <a:gd name="T36" fmla="*/ 348 w 1580"/>
                <a:gd name="T37" fmla="*/ 1363 h 1833"/>
                <a:gd name="T38" fmla="*/ 767 w 1580"/>
                <a:gd name="T39" fmla="*/ 1272 h 1833"/>
                <a:gd name="T40" fmla="*/ 615 w 1580"/>
                <a:gd name="T41" fmla="*/ 1548 h 1833"/>
                <a:gd name="T42" fmla="*/ 778 w 1580"/>
                <a:gd name="T43" fmla="*/ 1830 h 1833"/>
                <a:gd name="T44" fmla="*/ 952 w 1580"/>
                <a:gd name="T45" fmla="*/ 1742 h 1833"/>
                <a:gd name="T46" fmla="*/ 952 w 1580"/>
                <a:gd name="T47" fmla="*/ 1529 h 1833"/>
                <a:gd name="T48" fmla="*/ 1086 w 1580"/>
                <a:gd name="T49" fmla="*/ 1114 h 1833"/>
                <a:gd name="T50" fmla="*/ 1243 w 1580"/>
                <a:gd name="T51" fmla="*/ 1382 h 1833"/>
                <a:gd name="T52" fmla="*/ 1417 w 1580"/>
                <a:gd name="T53" fmla="*/ 1470 h 1833"/>
                <a:gd name="T54" fmla="*/ 1580 w 1580"/>
                <a:gd name="T55" fmla="*/ 1188 h 1833"/>
                <a:gd name="T56" fmla="*/ 1395 w 1580"/>
                <a:gd name="T57" fmla="*/ 1081 h 1833"/>
                <a:gd name="T58" fmla="*/ 1108 w 1580"/>
                <a:gd name="T59" fmla="*/ 758 h 1833"/>
                <a:gd name="T60" fmla="*/ 789 w 1580"/>
                <a:gd name="T61" fmla="*/ 600 h 1833"/>
                <a:gd name="T62" fmla="*/ 1276 w 1580"/>
                <a:gd name="T63" fmla="*/ 483 h 1833"/>
                <a:gd name="T64" fmla="*/ 1536 w 1580"/>
                <a:gd name="T65" fmla="*/ 634 h 1833"/>
                <a:gd name="T66" fmla="*/ 1276 w 1580"/>
                <a:gd name="T67" fmla="*/ 483 h 1833"/>
                <a:gd name="T68" fmla="*/ 919 w 1580"/>
                <a:gd name="T69" fmla="*/ 123 h 1833"/>
                <a:gd name="T70" fmla="*/ 659 w 1580"/>
                <a:gd name="T71" fmla="*/ 274 h 1833"/>
                <a:gd name="T72" fmla="*/ 174 w 1580"/>
                <a:gd name="T73" fmla="*/ 709 h 1833"/>
                <a:gd name="T74" fmla="*/ 174 w 1580"/>
                <a:gd name="T75" fmla="*/ 408 h 1833"/>
                <a:gd name="T76" fmla="*/ 304 w 1580"/>
                <a:gd name="T77" fmla="*/ 1351 h 1833"/>
                <a:gd name="T78" fmla="*/ 44 w 1580"/>
                <a:gd name="T79" fmla="*/ 1200 h 1833"/>
                <a:gd name="T80" fmla="*/ 304 w 1580"/>
                <a:gd name="T81" fmla="*/ 1351 h 1833"/>
                <a:gd name="T82" fmla="*/ 767 w 1580"/>
                <a:gd name="T83" fmla="*/ 1222 h 1833"/>
                <a:gd name="T84" fmla="*/ 919 w 1580"/>
                <a:gd name="T85" fmla="*/ 1711 h 1833"/>
                <a:gd name="T86" fmla="*/ 659 w 1580"/>
                <a:gd name="T87" fmla="*/ 1560 h 1833"/>
                <a:gd name="T88" fmla="*/ 919 w 1580"/>
                <a:gd name="T89" fmla="*/ 1711 h 1833"/>
                <a:gd name="T90" fmla="*/ 1064 w 1580"/>
                <a:gd name="T91" fmla="*/ 784 h 1833"/>
                <a:gd name="T92" fmla="*/ 1276 w 1580"/>
                <a:gd name="T93" fmla="*/ 1200 h 1833"/>
                <a:gd name="T94" fmla="*/ 1536 w 1580"/>
                <a:gd name="T95" fmla="*/ 1351 h 1833"/>
                <a:gd name="T96" fmla="*/ 1276 w 1580"/>
                <a:gd name="T97" fmla="*/ 1200 h 1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0" h="1833">
                  <a:moveTo>
                    <a:pt x="1108" y="758"/>
                  </a:moveTo>
                  <a:cubicBezTo>
                    <a:pt x="1254" y="672"/>
                    <a:pt x="1254" y="672"/>
                    <a:pt x="1254" y="672"/>
                  </a:cubicBezTo>
                  <a:cubicBezTo>
                    <a:pt x="1395" y="753"/>
                    <a:pt x="1395" y="753"/>
                    <a:pt x="1395" y="753"/>
                  </a:cubicBezTo>
                  <a:cubicBezTo>
                    <a:pt x="1399" y="755"/>
                    <a:pt x="1403" y="756"/>
                    <a:pt x="1406" y="756"/>
                  </a:cubicBezTo>
                  <a:cubicBezTo>
                    <a:pt x="1410" y="756"/>
                    <a:pt x="1414" y="755"/>
                    <a:pt x="1417" y="753"/>
                  </a:cubicBezTo>
                  <a:cubicBezTo>
                    <a:pt x="1569" y="665"/>
                    <a:pt x="1569" y="665"/>
                    <a:pt x="1569" y="665"/>
                  </a:cubicBezTo>
                  <a:cubicBezTo>
                    <a:pt x="1576" y="661"/>
                    <a:pt x="1580" y="654"/>
                    <a:pt x="1580" y="646"/>
                  </a:cubicBezTo>
                  <a:cubicBezTo>
                    <a:pt x="1580" y="471"/>
                    <a:pt x="1580" y="471"/>
                    <a:pt x="1580" y="471"/>
                  </a:cubicBezTo>
                  <a:cubicBezTo>
                    <a:pt x="1580" y="463"/>
                    <a:pt x="1576" y="456"/>
                    <a:pt x="1569" y="452"/>
                  </a:cubicBezTo>
                  <a:cubicBezTo>
                    <a:pt x="1417" y="364"/>
                    <a:pt x="1417" y="364"/>
                    <a:pt x="1417" y="364"/>
                  </a:cubicBezTo>
                  <a:cubicBezTo>
                    <a:pt x="1411" y="360"/>
                    <a:pt x="1402" y="360"/>
                    <a:pt x="1395" y="364"/>
                  </a:cubicBezTo>
                  <a:cubicBezTo>
                    <a:pt x="1243" y="452"/>
                    <a:pt x="1243" y="452"/>
                    <a:pt x="1243" y="452"/>
                  </a:cubicBezTo>
                  <a:cubicBezTo>
                    <a:pt x="1237" y="456"/>
                    <a:pt x="1232" y="463"/>
                    <a:pt x="1232" y="471"/>
                  </a:cubicBezTo>
                  <a:cubicBezTo>
                    <a:pt x="1232" y="634"/>
                    <a:pt x="1232" y="634"/>
                    <a:pt x="1232" y="634"/>
                  </a:cubicBezTo>
                  <a:cubicBezTo>
                    <a:pt x="1086" y="720"/>
                    <a:pt x="1086" y="720"/>
                    <a:pt x="1086" y="720"/>
                  </a:cubicBezTo>
                  <a:cubicBezTo>
                    <a:pt x="811" y="562"/>
                    <a:pt x="811" y="562"/>
                    <a:pt x="811" y="562"/>
                  </a:cubicBezTo>
                  <a:cubicBezTo>
                    <a:pt x="811" y="387"/>
                    <a:pt x="811" y="387"/>
                    <a:pt x="811" y="387"/>
                  </a:cubicBezTo>
                  <a:cubicBezTo>
                    <a:pt x="952" y="305"/>
                    <a:pt x="952" y="305"/>
                    <a:pt x="952" y="305"/>
                  </a:cubicBezTo>
                  <a:cubicBezTo>
                    <a:pt x="959" y="301"/>
                    <a:pt x="963" y="294"/>
                    <a:pt x="963" y="286"/>
                  </a:cubicBezTo>
                  <a:cubicBezTo>
                    <a:pt x="963" y="111"/>
                    <a:pt x="963" y="111"/>
                    <a:pt x="963" y="111"/>
                  </a:cubicBezTo>
                  <a:cubicBezTo>
                    <a:pt x="963" y="103"/>
                    <a:pt x="959" y="96"/>
                    <a:pt x="952" y="92"/>
                  </a:cubicBezTo>
                  <a:cubicBezTo>
                    <a:pt x="800" y="4"/>
                    <a:pt x="800" y="4"/>
                    <a:pt x="800" y="4"/>
                  </a:cubicBezTo>
                  <a:cubicBezTo>
                    <a:pt x="793" y="0"/>
                    <a:pt x="785" y="0"/>
                    <a:pt x="778" y="4"/>
                  </a:cubicBezTo>
                  <a:cubicBezTo>
                    <a:pt x="626" y="92"/>
                    <a:pt x="626" y="92"/>
                    <a:pt x="626" y="92"/>
                  </a:cubicBezTo>
                  <a:cubicBezTo>
                    <a:pt x="619" y="96"/>
                    <a:pt x="615" y="103"/>
                    <a:pt x="615" y="111"/>
                  </a:cubicBezTo>
                  <a:cubicBezTo>
                    <a:pt x="615" y="286"/>
                    <a:pt x="615" y="286"/>
                    <a:pt x="615" y="286"/>
                  </a:cubicBezTo>
                  <a:cubicBezTo>
                    <a:pt x="615" y="294"/>
                    <a:pt x="619" y="301"/>
                    <a:pt x="626" y="305"/>
                  </a:cubicBezTo>
                  <a:cubicBezTo>
                    <a:pt x="767" y="387"/>
                    <a:pt x="767" y="387"/>
                    <a:pt x="767" y="387"/>
                  </a:cubicBezTo>
                  <a:cubicBezTo>
                    <a:pt x="767" y="562"/>
                    <a:pt x="767" y="562"/>
                    <a:pt x="767" y="562"/>
                  </a:cubicBezTo>
                  <a:cubicBezTo>
                    <a:pt x="492" y="720"/>
                    <a:pt x="492" y="720"/>
                    <a:pt x="492" y="720"/>
                  </a:cubicBezTo>
                  <a:cubicBezTo>
                    <a:pt x="348" y="634"/>
                    <a:pt x="348" y="634"/>
                    <a:pt x="348" y="634"/>
                  </a:cubicBezTo>
                  <a:cubicBezTo>
                    <a:pt x="348" y="471"/>
                    <a:pt x="348" y="471"/>
                    <a:pt x="348" y="471"/>
                  </a:cubicBezTo>
                  <a:cubicBezTo>
                    <a:pt x="348" y="463"/>
                    <a:pt x="344" y="456"/>
                    <a:pt x="337" y="452"/>
                  </a:cubicBezTo>
                  <a:cubicBezTo>
                    <a:pt x="185" y="364"/>
                    <a:pt x="185" y="364"/>
                    <a:pt x="185" y="364"/>
                  </a:cubicBezTo>
                  <a:cubicBezTo>
                    <a:pt x="179" y="360"/>
                    <a:pt x="170" y="360"/>
                    <a:pt x="163" y="364"/>
                  </a:cubicBezTo>
                  <a:cubicBezTo>
                    <a:pt x="11" y="452"/>
                    <a:pt x="11" y="452"/>
                    <a:pt x="11" y="452"/>
                  </a:cubicBezTo>
                  <a:cubicBezTo>
                    <a:pt x="5" y="456"/>
                    <a:pt x="0" y="463"/>
                    <a:pt x="0" y="471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4"/>
                    <a:pt x="5" y="661"/>
                    <a:pt x="11" y="665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67" y="755"/>
                    <a:pt x="171" y="756"/>
                    <a:pt x="174" y="756"/>
                  </a:cubicBezTo>
                  <a:cubicBezTo>
                    <a:pt x="178" y="756"/>
                    <a:pt x="182" y="755"/>
                    <a:pt x="185" y="753"/>
                  </a:cubicBezTo>
                  <a:cubicBezTo>
                    <a:pt x="326" y="672"/>
                    <a:pt x="326" y="672"/>
                    <a:pt x="326" y="672"/>
                  </a:cubicBezTo>
                  <a:cubicBezTo>
                    <a:pt x="470" y="758"/>
                    <a:pt x="470" y="758"/>
                    <a:pt x="470" y="758"/>
                  </a:cubicBezTo>
                  <a:cubicBezTo>
                    <a:pt x="470" y="1076"/>
                    <a:pt x="470" y="1076"/>
                    <a:pt x="470" y="1076"/>
                  </a:cubicBezTo>
                  <a:cubicBezTo>
                    <a:pt x="326" y="1162"/>
                    <a:pt x="326" y="1162"/>
                    <a:pt x="326" y="1162"/>
                  </a:cubicBezTo>
                  <a:cubicBezTo>
                    <a:pt x="185" y="1081"/>
                    <a:pt x="185" y="1081"/>
                    <a:pt x="185" y="1081"/>
                  </a:cubicBezTo>
                  <a:cubicBezTo>
                    <a:pt x="179" y="1077"/>
                    <a:pt x="170" y="1077"/>
                    <a:pt x="163" y="1081"/>
                  </a:cubicBezTo>
                  <a:cubicBezTo>
                    <a:pt x="11" y="1169"/>
                    <a:pt x="11" y="1169"/>
                    <a:pt x="11" y="1169"/>
                  </a:cubicBezTo>
                  <a:cubicBezTo>
                    <a:pt x="5" y="1173"/>
                    <a:pt x="0" y="1180"/>
                    <a:pt x="0" y="1188"/>
                  </a:cubicBezTo>
                  <a:cubicBezTo>
                    <a:pt x="0" y="1363"/>
                    <a:pt x="0" y="1363"/>
                    <a:pt x="0" y="1363"/>
                  </a:cubicBezTo>
                  <a:cubicBezTo>
                    <a:pt x="0" y="1371"/>
                    <a:pt x="5" y="1378"/>
                    <a:pt x="11" y="1382"/>
                  </a:cubicBezTo>
                  <a:cubicBezTo>
                    <a:pt x="163" y="1470"/>
                    <a:pt x="163" y="1470"/>
                    <a:pt x="163" y="1470"/>
                  </a:cubicBezTo>
                  <a:cubicBezTo>
                    <a:pt x="167" y="1472"/>
                    <a:pt x="171" y="1473"/>
                    <a:pt x="174" y="1473"/>
                  </a:cubicBezTo>
                  <a:cubicBezTo>
                    <a:pt x="178" y="1473"/>
                    <a:pt x="182" y="1472"/>
                    <a:pt x="185" y="1470"/>
                  </a:cubicBezTo>
                  <a:cubicBezTo>
                    <a:pt x="337" y="1382"/>
                    <a:pt x="337" y="1382"/>
                    <a:pt x="337" y="1382"/>
                  </a:cubicBezTo>
                  <a:cubicBezTo>
                    <a:pt x="344" y="1378"/>
                    <a:pt x="348" y="1371"/>
                    <a:pt x="348" y="1363"/>
                  </a:cubicBezTo>
                  <a:cubicBezTo>
                    <a:pt x="348" y="1200"/>
                    <a:pt x="348" y="1200"/>
                    <a:pt x="348" y="1200"/>
                  </a:cubicBezTo>
                  <a:cubicBezTo>
                    <a:pt x="492" y="1114"/>
                    <a:pt x="492" y="1114"/>
                    <a:pt x="492" y="1114"/>
                  </a:cubicBezTo>
                  <a:cubicBezTo>
                    <a:pt x="767" y="1272"/>
                    <a:pt x="767" y="1272"/>
                    <a:pt x="767" y="1272"/>
                  </a:cubicBezTo>
                  <a:cubicBezTo>
                    <a:pt x="767" y="1447"/>
                    <a:pt x="767" y="1447"/>
                    <a:pt x="767" y="1447"/>
                  </a:cubicBezTo>
                  <a:cubicBezTo>
                    <a:pt x="626" y="1529"/>
                    <a:pt x="626" y="1529"/>
                    <a:pt x="626" y="1529"/>
                  </a:cubicBezTo>
                  <a:cubicBezTo>
                    <a:pt x="619" y="1533"/>
                    <a:pt x="615" y="1540"/>
                    <a:pt x="615" y="1548"/>
                  </a:cubicBezTo>
                  <a:cubicBezTo>
                    <a:pt x="615" y="1723"/>
                    <a:pt x="615" y="1723"/>
                    <a:pt x="615" y="1723"/>
                  </a:cubicBezTo>
                  <a:cubicBezTo>
                    <a:pt x="615" y="1731"/>
                    <a:pt x="619" y="1738"/>
                    <a:pt x="626" y="1742"/>
                  </a:cubicBezTo>
                  <a:cubicBezTo>
                    <a:pt x="778" y="1830"/>
                    <a:pt x="778" y="1830"/>
                    <a:pt x="778" y="1830"/>
                  </a:cubicBezTo>
                  <a:cubicBezTo>
                    <a:pt x="781" y="1832"/>
                    <a:pt x="785" y="1833"/>
                    <a:pt x="789" y="1833"/>
                  </a:cubicBezTo>
                  <a:cubicBezTo>
                    <a:pt x="793" y="1833"/>
                    <a:pt x="797" y="1832"/>
                    <a:pt x="800" y="1830"/>
                  </a:cubicBezTo>
                  <a:cubicBezTo>
                    <a:pt x="952" y="1742"/>
                    <a:pt x="952" y="1742"/>
                    <a:pt x="952" y="1742"/>
                  </a:cubicBezTo>
                  <a:cubicBezTo>
                    <a:pt x="959" y="1738"/>
                    <a:pt x="963" y="1731"/>
                    <a:pt x="963" y="1723"/>
                  </a:cubicBezTo>
                  <a:cubicBezTo>
                    <a:pt x="963" y="1548"/>
                    <a:pt x="963" y="1548"/>
                    <a:pt x="963" y="1548"/>
                  </a:cubicBezTo>
                  <a:cubicBezTo>
                    <a:pt x="963" y="1540"/>
                    <a:pt x="959" y="1533"/>
                    <a:pt x="952" y="1529"/>
                  </a:cubicBezTo>
                  <a:cubicBezTo>
                    <a:pt x="811" y="1447"/>
                    <a:pt x="811" y="1447"/>
                    <a:pt x="811" y="1447"/>
                  </a:cubicBezTo>
                  <a:cubicBezTo>
                    <a:pt x="811" y="1272"/>
                    <a:pt x="811" y="1272"/>
                    <a:pt x="811" y="1272"/>
                  </a:cubicBezTo>
                  <a:cubicBezTo>
                    <a:pt x="1086" y="1114"/>
                    <a:pt x="1086" y="1114"/>
                    <a:pt x="1086" y="1114"/>
                  </a:cubicBezTo>
                  <a:cubicBezTo>
                    <a:pt x="1232" y="1200"/>
                    <a:pt x="1232" y="1200"/>
                    <a:pt x="1232" y="1200"/>
                  </a:cubicBezTo>
                  <a:cubicBezTo>
                    <a:pt x="1232" y="1363"/>
                    <a:pt x="1232" y="1363"/>
                    <a:pt x="1232" y="1363"/>
                  </a:cubicBezTo>
                  <a:cubicBezTo>
                    <a:pt x="1232" y="1371"/>
                    <a:pt x="1237" y="1378"/>
                    <a:pt x="1243" y="1382"/>
                  </a:cubicBezTo>
                  <a:cubicBezTo>
                    <a:pt x="1395" y="1470"/>
                    <a:pt x="1395" y="1470"/>
                    <a:pt x="1395" y="1470"/>
                  </a:cubicBezTo>
                  <a:cubicBezTo>
                    <a:pt x="1399" y="1472"/>
                    <a:pt x="1403" y="1473"/>
                    <a:pt x="1406" y="1473"/>
                  </a:cubicBezTo>
                  <a:cubicBezTo>
                    <a:pt x="1410" y="1473"/>
                    <a:pt x="1414" y="1472"/>
                    <a:pt x="1417" y="1470"/>
                  </a:cubicBezTo>
                  <a:cubicBezTo>
                    <a:pt x="1569" y="1382"/>
                    <a:pt x="1569" y="1382"/>
                    <a:pt x="1569" y="1382"/>
                  </a:cubicBezTo>
                  <a:cubicBezTo>
                    <a:pt x="1576" y="1378"/>
                    <a:pt x="1580" y="1371"/>
                    <a:pt x="1580" y="1363"/>
                  </a:cubicBezTo>
                  <a:cubicBezTo>
                    <a:pt x="1580" y="1188"/>
                    <a:pt x="1580" y="1188"/>
                    <a:pt x="1580" y="1188"/>
                  </a:cubicBezTo>
                  <a:cubicBezTo>
                    <a:pt x="1580" y="1180"/>
                    <a:pt x="1576" y="1173"/>
                    <a:pt x="1569" y="1169"/>
                  </a:cubicBezTo>
                  <a:cubicBezTo>
                    <a:pt x="1417" y="1081"/>
                    <a:pt x="1417" y="1081"/>
                    <a:pt x="1417" y="1081"/>
                  </a:cubicBezTo>
                  <a:cubicBezTo>
                    <a:pt x="1411" y="1077"/>
                    <a:pt x="1402" y="1077"/>
                    <a:pt x="1395" y="1081"/>
                  </a:cubicBezTo>
                  <a:cubicBezTo>
                    <a:pt x="1254" y="1162"/>
                    <a:pt x="1254" y="1162"/>
                    <a:pt x="1254" y="1162"/>
                  </a:cubicBezTo>
                  <a:cubicBezTo>
                    <a:pt x="1108" y="1076"/>
                    <a:pt x="1108" y="1076"/>
                    <a:pt x="1108" y="1076"/>
                  </a:cubicBezTo>
                  <a:lnTo>
                    <a:pt x="1108" y="758"/>
                  </a:lnTo>
                  <a:close/>
                  <a:moveTo>
                    <a:pt x="789" y="892"/>
                  </a:moveTo>
                  <a:cubicBezTo>
                    <a:pt x="536" y="746"/>
                    <a:pt x="536" y="746"/>
                    <a:pt x="536" y="746"/>
                  </a:cubicBezTo>
                  <a:cubicBezTo>
                    <a:pt x="789" y="600"/>
                    <a:pt x="789" y="600"/>
                    <a:pt x="789" y="600"/>
                  </a:cubicBezTo>
                  <a:cubicBezTo>
                    <a:pt x="1042" y="746"/>
                    <a:pt x="1042" y="746"/>
                    <a:pt x="1042" y="746"/>
                  </a:cubicBezTo>
                  <a:lnTo>
                    <a:pt x="789" y="892"/>
                  </a:lnTo>
                  <a:close/>
                  <a:moveTo>
                    <a:pt x="1276" y="483"/>
                  </a:moveTo>
                  <a:cubicBezTo>
                    <a:pt x="1406" y="408"/>
                    <a:pt x="1406" y="408"/>
                    <a:pt x="1406" y="408"/>
                  </a:cubicBezTo>
                  <a:cubicBezTo>
                    <a:pt x="1536" y="483"/>
                    <a:pt x="1536" y="483"/>
                    <a:pt x="1536" y="483"/>
                  </a:cubicBezTo>
                  <a:cubicBezTo>
                    <a:pt x="1536" y="634"/>
                    <a:pt x="1536" y="634"/>
                    <a:pt x="1536" y="634"/>
                  </a:cubicBezTo>
                  <a:cubicBezTo>
                    <a:pt x="1406" y="709"/>
                    <a:pt x="1406" y="709"/>
                    <a:pt x="1406" y="709"/>
                  </a:cubicBezTo>
                  <a:cubicBezTo>
                    <a:pt x="1276" y="634"/>
                    <a:pt x="1276" y="634"/>
                    <a:pt x="1276" y="634"/>
                  </a:cubicBezTo>
                  <a:lnTo>
                    <a:pt x="1276" y="483"/>
                  </a:lnTo>
                  <a:close/>
                  <a:moveTo>
                    <a:pt x="659" y="123"/>
                  </a:moveTo>
                  <a:cubicBezTo>
                    <a:pt x="789" y="48"/>
                    <a:pt x="789" y="48"/>
                    <a:pt x="789" y="48"/>
                  </a:cubicBezTo>
                  <a:cubicBezTo>
                    <a:pt x="919" y="123"/>
                    <a:pt x="919" y="123"/>
                    <a:pt x="919" y="123"/>
                  </a:cubicBezTo>
                  <a:cubicBezTo>
                    <a:pt x="919" y="274"/>
                    <a:pt x="919" y="274"/>
                    <a:pt x="919" y="274"/>
                  </a:cubicBezTo>
                  <a:cubicBezTo>
                    <a:pt x="789" y="349"/>
                    <a:pt x="789" y="349"/>
                    <a:pt x="789" y="349"/>
                  </a:cubicBezTo>
                  <a:cubicBezTo>
                    <a:pt x="659" y="274"/>
                    <a:pt x="659" y="274"/>
                    <a:pt x="659" y="274"/>
                  </a:cubicBezTo>
                  <a:lnTo>
                    <a:pt x="659" y="123"/>
                  </a:lnTo>
                  <a:close/>
                  <a:moveTo>
                    <a:pt x="304" y="634"/>
                  </a:moveTo>
                  <a:cubicBezTo>
                    <a:pt x="174" y="709"/>
                    <a:pt x="174" y="709"/>
                    <a:pt x="174" y="709"/>
                  </a:cubicBezTo>
                  <a:cubicBezTo>
                    <a:pt x="44" y="634"/>
                    <a:pt x="44" y="634"/>
                    <a:pt x="44" y="634"/>
                  </a:cubicBezTo>
                  <a:cubicBezTo>
                    <a:pt x="44" y="483"/>
                    <a:pt x="44" y="483"/>
                    <a:pt x="44" y="483"/>
                  </a:cubicBezTo>
                  <a:cubicBezTo>
                    <a:pt x="174" y="408"/>
                    <a:pt x="174" y="408"/>
                    <a:pt x="174" y="408"/>
                  </a:cubicBezTo>
                  <a:cubicBezTo>
                    <a:pt x="304" y="483"/>
                    <a:pt x="304" y="483"/>
                    <a:pt x="304" y="483"/>
                  </a:cubicBezTo>
                  <a:lnTo>
                    <a:pt x="304" y="634"/>
                  </a:lnTo>
                  <a:close/>
                  <a:moveTo>
                    <a:pt x="304" y="1351"/>
                  </a:moveTo>
                  <a:cubicBezTo>
                    <a:pt x="174" y="1426"/>
                    <a:pt x="174" y="1426"/>
                    <a:pt x="174" y="1426"/>
                  </a:cubicBezTo>
                  <a:cubicBezTo>
                    <a:pt x="44" y="1351"/>
                    <a:pt x="44" y="1351"/>
                    <a:pt x="44" y="1351"/>
                  </a:cubicBezTo>
                  <a:cubicBezTo>
                    <a:pt x="44" y="1200"/>
                    <a:pt x="44" y="1200"/>
                    <a:pt x="44" y="1200"/>
                  </a:cubicBezTo>
                  <a:cubicBezTo>
                    <a:pt x="174" y="1125"/>
                    <a:pt x="174" y="1125"/>
                    <a:pt x="174" y="1125"/>
                  </a:cubicBezTo>
                  <a:cubicBezTo>
                    <a:pt x="304" y="1200"/>
                    <a:pt x="304" y="1200"/>
                    <a:pt x="304" y="1200"/>
                  </a:cubicBezTo>
                  <a:lnTo>
                    <a:pt x="304" y="1351"/>
                  </a:lnTo>
                  <a:close/>
                  <a:moveTo>
                    <a:pt x="514" y="784"/>
                  </a:moveTo>
                  <a:cubicBezTo>
                    <a:pt x="767" y="930"/>
                    <a:pt x="767" y="930"/>
                    <a:pt x="767" y="930"/>
                  </a:cubicBezTo>
                  <a:cubicBezTo>
                    <a:pt x="767" y="1222"/>
                    <a:pt x="767" y="1222"/>
                    <a:pt x="767" y="1222"/>
                  </a:cubicBezTo>
                  <a:cubicBezTo>
                    <a:pt x="514" y="1076"/>
                    <a:pt x="514" y="1076"/>
                    <a:pt x="514" y="1076"/>
                  </a:cubicBezTo>
                  <a:lnTo>
                    <a:pt x="514" y="784"/>
                  </a:lnTo>
                  <a:close/>
                  <a:moveTo>
                    <a:pt x="919" y="1711"/>
                  </a:moveTo>
                  <a:cubicBezTo>
                    <a:pt x="789" y="1786"/>
                    <a:pt x="789" y="1786"/>
                    <a:pt x="789" y="1786"/>
                  </a:cubicBezTo>
                  <a:cubicBezTo>
                    <a:pt x="659" y="1711"/>
                    <a:pt x="659" y="1711"/>
                    <a:pt x="659" y="1711"/>
                  </a:cubicBezTo>
                  <a:cubicBezTo>
                    <a:pt x="659" y="1560"/>
                    <a:pt x="659" y="1560"/>
                    <a:pt x="659" y="1560"/>
                  </a:cubicBezTo>
                  <a:cubicBezTo>
                    <a:pt x="789" y="1485"/>
                    <a:pt x="789" y="1485"/>
                    <a:pt x="789" y="1485"/>
                  </a:cubicBezTo>
                  <a:cubicBezTo>
                    <a:pt x="919" y="1560"/>
                    <a:pt x="919" y="1560"/>
                    <a:pt x="919" y="1560"/>
                  </a:cubicBezTo>
                  <a:lnTo>
                    <a:pt x="919" y="1711"/>
                  </a:lnTo>
                  <a:close/>
                  <a:moveTo>
                    <a:pt x="811" y="1222"/>
                  </a:moveTo>
                  <a:cubicBezTo>
                    <a:pt x="811" y="930"/>
                    <a:pt x="811" y="930"/>
                    <a:pt x="811" y="930"/>
                  </a:cubicBezTo>
                  <a:cubicBezTo>
                    <a:pt x="1064" y="784"/>
                    <a:pt x="1064" y="784"/>
                    <a:pt x="1064" y="784"/>
                  </a:cubicBezTo>
                  <a:cubicBezTo>
                    <a:pt x="1064" y="1076"/>
                    <a:pt x="1064" y="1076"/>
                    <a:pt x="1064" y="1076"/>
                  </a:cubicBezTo>
                  <a:lnTo>
                    <a:pt x="811" y="1222"/>
                  </a:lnTo>
                  <a:close/>
                  <a:moveTo>
                    <a:pt x="1276" y="1200"/>
                  </a:moveTo>
                  <a:cubicBezTo>
                    <a:pt x="1406" y="1125"/>
                    <a:pt x="1406" y="1125"/>
                    <a:pt x="1406" y="1125"/>
                  </a:cubicBezTo>
                  <a:cubicBezTo>
                    <a:pt x="1536" y="1200"/>
                    <a:pt x="1536" y="1200"/>
                    <a:pt x="1536" y="1200"/>
                  </a:cubicBezTo>
                  <a:cubicBezTo>
                    <a:pt x="1536" y="1351"/>
                    <a:pt x="1536" y="1351"/>
                    <a:pt x="1536" y="1351"/>
                  </a:cubicBezTo>
                  <a:cubicBezTo>
                    <a:pt x="1406" y="1426"/>
                    <a:pt x="1406" y="1426"/>
                    <a:pt x="1406" y="1426"/>
                  </a:cubicBezTo>
                  <a:cubicBezTo>
                    <a:pt x="1276" y="1351"/>
                    <a:pt x="1276" y="1351"/>
                    <a:pt x="1276" y="1351"/>
                  </a:cubicBezTo>
                  <a:lnTo>
                    <a:pt x="1276" y="120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777" y="5349510"/>
            <a:ext cx="452023" cy="452023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8976463" y="3623350"/>
            <a:ext cx="559462" cy="397828"/>
            <a:chOff x="6091038" y="3921976"/>
            <a:chExt cx="771692" cy="548743"/>
          </a:xfrm>
          <a:solidFill>
            <a:schemeClr val="bg1"/>
          </a:solidFill>
        </p:grpSpPr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0DEED23-E775-4E3C-8A0A-7C985BAF0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1038" y="3921976"/>
              <a:ext cx="702763" cy="548743"/>
            </a:xfrm>
            <a:custGeom>
              <a:avLst/>
              <a:gdLst>
                <a:gd name="T0" fmla="*/ 234 w 1671"/>
                <a:gd name="T1" fmla="*/ 835 h 1573"/>
                <a:gd name="T2" fmla="*/ 0 w 1671"/>
                <a:gd name="T3" fmla="*/ 585 h 1573"/>
                <a:gd name="T4" fmla="*/ 234 w 1671"/>
                <a:gd name="T5" fmla="*/ 335 h 1573"/>
                <a:gd name="T6" fmla="*/ 234 w 1671"/>
                <a:gd name="T7" fmla="*/ 379 h 1573"/>
                <a:gd name="T8" fmla="*/ 44 w 1671"/>
                <a:gd name="T9" fmla="*/ 585 h 1573"/>
                <a:gd name="T10" fmla="*/ 234 w 1671"/>
                <a:gd name="T11" fmla="*/ 791 h 1573"/>
                <a:gd name="T12" fmla="*/ 234 w 1671"/>
                <a:gd name="T13" fmla="*/ 835 h 1573"/>
                <a:gd name="T14" fmla="*/ 1569 w 1671"/>
                <a:gd name="T15" fmla="*/ 0 h 1573"/>
                <a:gd name="T16" fmla="*/ 1524 w 1671"/>
                <a:gd name="T17" fmla="*/ 10 h 1573"/>
                <a:gd name="T18" fmla="*/ 1196 w 1671"/>
                <a:gd name="T19" fmla="*/ 169 h 1573"/>
                <a:gd name="T20" fmla="*/ 1202 w 1671"/>
                <a:gd name="T21" fmla="*/ 197 h 1573"/>
                <a:gd name="T22" fmla="*/ 1202 w 1671"/>
                <a:gd name="T23" fmla="*/ 215 h 1573"/>
                <a:gd name="T24" fmla="*/ 1544 w 1671"/>
                <a:gd name="T25" fmla="*/ 49 h 1573"/>
                <a:gd name="T26" fmla="*/ 1569 w 1671"/>
                <a:gd name="T27" fmla="*/ 44 h 1573"/>
                <a:gd name="T28" fmla="*/ 1627 w 1671"/>
                <a:gd name="T29" fmla="*/ 102 h 1573"/>
                <a:gd name="T30" fmla="*/ 1627 w 1671"/>
                <a:gd name="T31" fmla="*/ 1104 h 1573"/>
                <a:gd name="T32" fmla="*/ 1609 w 1671"/>
                <a:gd name="T33" fmla="*/ 1146 h 1573"/>
                <a:gd name="T34" fmla="*/ 1569 w 1671"/>
                <a:gd name="T35" fmla="*/ 1163 h 1573"/>
                <a:gd name="T36" fmla="*/ 1569 w 1671"/>
                <a:gd name="T37" fmla="*/ 1163 h 1573"/>
                <a:gd name="T38" fmla="*/ 1544 w 1671"/>
                <a:gd name="T39" fmla="*/ 1157 h 1573"/>
                <a:gd name="T40" fmla="*/ 1200 w 1671"/>
                <a:gd name="T41" fmla="*/ 990 h 1573"/>
                <a:gd name="T42" fmla="*/ 1173 w 1671"/>
                <a:gd name="T43" fmla="*/ 1026 h 1573"/>
                <a:gd name="T44" fmla="*/ 1524 w 1671"/>
                <a:gd name="T45" fmla="*/ 1196 h 1573"/>
                <a:gd name="T46" fmla="*/ 1569 w 1671"/>
                <a:gd name="T47" fmla="*/ 1207 h 1573"/>
                <a:gd name="T48" fmla="*/ 1569 w 1671"/>
                <a:gd name="T49" fmla="*/ 1207 h 1573"/>
                <a:gd name="T50" fmla="*/ 1640 w 1671"/>
                <a:gd name="T51" fmla="*/ 1178 h 1573"/>
                <a:gd name="T52" fmla="*/ 1671 w 1671"/>
                <a:gd name="T53" fmla="*/ 1104 h 1573"/>
                <a:gd name="T54" fmla="*/ 1671 w 1671"/>
                <a:gd name="T55" fmla="*/ 102 h 1573"/>
                <a:gd name="T56" fmla="*/ 1569 w 1671"/>
                <a:gd name="T57" fmla="*/ 0 h 1573"/>
                <a:gd name="T58" fmla="*/ 623 w 1671"/>
                <a:gd name="T59" fmla="*/ 960 h 1573"/>
                <a:gd name="T60" fmla="*/ 572 w 1671"/>
                <a:gd name="T61" fmla="*/ 953 h 1573"/>
                <a:gd name="T62" fmla="*/ 812 w 1671"/>
                <a:gd name="T63" fmla="*/ 1529 h 1573"/>
                <a:gd name="T64" fmla="*/ 600 w 1671"/>
                <a:gd name="T65" fmla="*/ 1529 h 1573"/>
                <a:gd name="T66" fmla="*/ 347 w 1671"/>
                <a:gd name="T67" fmla="*/ 919 h 1573"/>
                <a:gd name="T68" fmla="*/ 296 w 1671"/>
                <a:gd name="T69" fmla="*/ 912 h 1573"/>
                <a:gd name="T70" fmla="*/ 565 w 1671"/>
                <a:gd name="T71" fmla="*/ 1560 h 1573"/>
                <a:gd name="T72" fmla="*/ 586 w 1671"/>
                <a:gd name="T73" fmla="*/ 1573 h 1573"/>
                <a:gd name="T74" fmla="*/ 845 w 1671"/>
                <a:gd name="T75" fmla="*/ 1573 h 1573"/>
                <a:gd name="T76" fmla="*/ 863 w 1671"/>
                <a:gd name="T77" fmla="*/ 1563 h 1573"/>
                <a:gd name="T78" fmla="*/ 865 w 1671"/>
                <a:gd name="T79" fmla="*/ 1543 h 1573"/>
                <a:gd name="T80" fmla="*/ 623 w 1671"/>
                <a:gd name="T81" fmla="*/ 960 h 1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71" h="1573">
                  <a:moveTo>
                    <a:pt x="234" y="835"/>
                  </a:moveTo>
                  <a:cubicBezTo>
                    <a:pt x="101" y="815"/>
                    <a:pt x="0" y="710"/>
                    <a:pt x="0" y="585"/>
                  </a:cubicBezTo>
                  <a:cubicBezTo>
                    <a:pt x="0" y="459"/>
                    <a:pt x="101" y="355"/>
                    <a:pt x="234" y="335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126" y="399"/>
                    <a:pt x="44" y="483"/>
                    <a:pt x="44" y="585"/>
                  </a:cubicBezTo>
                  <a:cubicBezTo>
                    <a:pt x="44" y="686"/>
                    <a:pt x="126" y="771"/>
                    <a:pt x="234" y="791"/>
                  </a:cubicBezTo>
                  <a:lnTo>
                    <a:pt x="234" y="835"/>
                  </a:lnTo>
                  <a:close/>
                  <a:moveTo>
                    <a:pt x="1569" y="0"/>
                  </a:moveTo>
                  <a:cubicBezTo>
                    <a:pt x="1553" y="0"/>
                    <a:pt x="1539" y="3"/>
                    <a:pt x="1524" y="10"/>
                  </a:cubicBezTo>
                  <a:cubicBezTo>
                    <a:pt x="1196" y="169"/>
                    <a:pt x="1196" y="169"/>
                    <a:pt x="1196" y="169"/>
                  </a:cubicBezTo>
                  <a:cubicBezTo>
                    <a:pt x="1200" y="177"/>
                    <a:pt x="1202" y="187"/>
                    <a:pt x="1202" y="197"/>
                  </a:cubicBezTo>
                  <a:cubicBezTo>
                    <a:pt x="1202" y="215"/>
                    <a:pt x="1202" y="215"/>
                    <a:pt x="1202" y="215"/>
                  </a:cubicBezTo>
                  <a:cubicBezTo>
                    <a:pt x="1544" y="49"/>
                    <a:pt x="1544" y="49"/>
                    <a:pt x="1544" y="49"/>
                  </a:cubicBezTo>
                  <a:cubicBezTo>
                    <a:pt x="1552" y="46"/>
                    <a:pt x="1560" y="44"/>
                    <a:pt x="1569" y="44"/>
                  </a:cubicBezTo>
                  <a:cubicBezTo>
                    <a:pt x="1597" y="44"/>
                    <a:pt x="1627" y="66"/>
                    <a:pt x="1627" y="102"/>
                  </a:cubicBezTo>
                  <a:cubicBezTo>
                    <a:pt x="1627" y="1104"/>
                    <a:pt x="1627" y="1104"/>
                    <a:pt x="1627" y="1104"/>
                  </a:cubicBezTo>
                  <a:cubicBezTo>
                    <a:pt x="1627" y="1120"/>
                    <a:pt x="1621" y="1135"/>
                    <a:pt x="1609" y="1146"/>
                  </a:cubicBezTo>
                  <a:cubicBezTo>
                    <a:pt x="1598" y="1157"/>
                    <a:pt x="1584" y="1163"/>
                    <a:pt x="1569" y="1163"/>
                  </a:cubicBezTo>
                  <a:cubicBezTo>
                    <a:pt x="1569" y="1163"/>
                    <a:pt x="1569" y="1163"/>
                    <a:pt x="1569" y="1163"/>
                  </a:cubicBezTo>
                  <a:cubicBezTo>
                    <a:pt x="1560" y="1163"/>
                    <a:pt x="1552" y="1161"/>
                    <a:pt x="1544" y="1157"/>
                  </a:cubicBezTo>
                  <a:cubicBezTo>
                    <a:pt x="1200" y="990"/>
                    <a:pt x="1200" y="990"/>
                    <a:pt x="1200" y="990"/>
                  </a:cubicBezTo>
                  <a:cubicBezTo>
                    <a:pt x="1196" y="1006"/>
                    <a:pt x="1186" y="1018"/>
                    <a:pt x="1173" y="1026"/>
                  </a:cubicBezTo>
                  <a:cubicBezTo>
                    <a:pt x="1524" y="1196"/>
                    <a:pt x="1524" y="1196"/>
                    <a:pt x="1524" y="1196"/>
                  </a:cubicBezTo>
                  <a:cubicBezTo>
                    <a:pt x="1539" y="1203"/>
                    <a:pt x="1553" y="1207"/>
                    <a:pt x="1569" y="1207"/>
                  </a:cubicBezTo>
                  <a:cubicBezTo>
                    <a:pt x="1569" y="1207"/>
                    <a:pt x="1569" y="1207"/>
                    <a:pt x="1569" y="1207"/>
                  </a:cubicBezTo>
                  <a:cubicBezTo>
                    <a:pt x="1595" y="1207"/>
                    <a:pt x="1621" y="1196"/>
                    <a:pt x="1640" y="1178"/>
                  </a:cubicBezTo>
                  <a:cubicBezTo>
                    <a:pt x="1660" y="1158"/>
                    <a:pt x="1671" y="1132"/>
                    <a:pt x="1671" y="1104"/>
                  </a:cubicBezTo>
                  <a:cubicBezTo>
                    <a:pt x="1671" y="102"/>
                    <a:pt x="1671" y="102"/>
                    <a:pt x="1671" y="102"/>
                  </a:cubicBezTo>
                  <a:cubicBezTo>
                    <a:pt x="1671" y="45"/>
                    <a:pt x="1625" y="0"/>
                    <a:pt x="1569" y="0"/>
                  </a:cubicBezTo>
                  <a:close/>
                  <a:moveTo>
                    <a:pt x="623" y="960"/>
                  </a:moveTo>
                  <a:cubicBezTo>
                    <a:pt x="572" y="953"/>
                    <a:pt x="572" y="953"/>
                    <a:pt x="572" y="953"/>
                  </a:cubicBezTo>
                  <a:cubicBezTo>
                    <a:pt x="812" y="1529"/>
                    <a:pt x="812" y="1529"/>
                    <a:pt x="812" y="1529"/>
                  </a:cubicBezTo>
                  <a:cubicBezTo>
                    <a:pt x="600" y="1529"/>
                    <a:pt x="600" y="1529"/>
                    <a:pt x="600" y="1529"/>
                  </a:cubicBezTo>
                  <a:cubicBezTo>
                    <a:pt x="347" y="919"/>
                    <a:pt x="347" y="919"/>
                    <a:pt x="347" y="919"/>
                  </a:cubicBezTo>
                  <a:cubicBezTo>
                    <a:pt x="296" y="912"/>
                    <a:pt x="296" y="912"/>
                    <a:pt x="296" y="912"/>
                  </a:cubicBezTo>
                  <a:cubicBezTo>
                    <a:pt x="565" y="1560"/>
                    <a:pt x="565" y="1560"/>
                    <a:pt x="565" y="1560"/>
                  </a:cubicBezTo>
                  <a:cubicBezTo>
                    <a:pt x="569" y="1568"/>
                    <a:pt x="577" y="1573"/>
                    <a:pt x="586" y="1573"/>
                  </a:cubicBezTo>
                  <a:cubicBezTo>
                    <a:pt x="845" y="1573"/>
                    <a:pt x="845" y="1573"/>
                    <a:pt x="845" y="1573"/>
                  </a:cubicBezTo>
                  <a:cubicBezTo>
                    <a:pt x="852" y="1573"/>
                    <a:pt x="859" y="1569"/>
                    <a:pt x="863" y="1563"/>
                  </a:cubicBezTo>
                  <a:cubicBezTo>
                    <a:pt x="867" y="1557"/>
                    <a:pt x="868" y="1550"/>
                    <a:pt x="865" y="1543"/>
                  </a:cubicBezTo>
                  <a:lnTo>
                    <a:pt x="623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C04817F1-F65C-455D-845B-0E718BDAE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8016" y="3983940"/>
              <a:ext cx="654714" cy="283768"/>
            </a:xfrm>
            <a:custGeom>
              <a:avLst/>
              <a:gdLst>
                <a:gd name="T0" fmla="*/ 1557 w 1557"/>
                <a:gd name="T1" fmla="*/ 412 h 813"/>
                <a:gd name="T2" fmla="*/ 1437 w 1557"/>
                <a:gd name="T3" fmla="*/ 575 h 813"/>
                <a:gd name="T4" fmla="*/ 1437 w 1557"/>
                <a:gd name="T5" fmla="*/ 246 h 813"/>
                <a:gd name="T6" fmla="*/ 1557 w 1557"/>
                <a:gd name="T7" fmla="*/ 412 h 813"/>
                <a:gd name="T8" fmla="*/ 880 w 1557"/>
                <a:gd name="T9" fmla="*/ 797 h 813"/>
                <a:gd name="T10" fmla="*/ 880 w 1557"/>
                <a:gd name="T11" fmla="*/ 797 h 813"/>
                <a:gd name="T12" fmla="*/ 880 w 1557"/>
                <a:gd name="T13" fmla="*/ 19 h 813"/>
                <a:gd name="T14" fmla="*/ 861 w 1557"/>
                <a:gd name="T15" fmla="*/ 0 h 813"/>
                <a:gd name="T16" fmla="*/ 19 w 1557"/>
                <a:gd name="T17" fmla="*/ 108 h 813"/>
                <a:gd name="T18" fmla="*/ 0 w 1557"/>
                <a:gd name="T19" fmla="*/ 127 h 813"/>
                <a:gd name="T20" fmla="*/ 0 w 1557"/>
                <a:gd name="T21" fmla="*/ 671 h 813"/>
                <a:gd name="T22" fmla="*/ 19 w 1557"/>
                <a:gd name="T23" fmla="*/ 690 h 813"/>
                <a:gd name="T24" fmla="*/ 861 w 1557"/>
                <a:gd name="T25" fmla="*/ 813 h 813"/>
                <a:gd name="T26" fmla="*/ 880 w 1557"/>
                <a:gd name="T27" fmla="*/ 797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7" h="813">
                  <a:moveTo>
                    <a:pt x="1557" y="412"/>
                  </a:moveTo>
                  <a:cubicBezTo>
                    <a:pt x="1557" y="486"/>
                    <a:pt x="1506" y="550"/>
                    <a:pt x="1437" y="575"/>
                  </a:cubicBezTo>
                  <a:cubicBezTo>
                    <a:pt x="1437" y="246"/>
                    <a:pt x="1437" y="246"/>
                    <a:pt x="1437" y="246"/>
                  </a:cubicBezTo>
                  <a:cubicBezTo>
                    <a:pt x="1506" y="271"/>
                    <a:pt x="1557" y="335"/>
                    <a:pt x="1557" y="412"/>
                  </a:cubicBezTo>
                  <a:close/>
                  <a:moveTo>
                    <a:pt x="880" y="797"/>
                  </a:moveTo>
                  <a:cubicBezTo>
                    <a:pt x="880" y="797"/>
                    <a:pt x="880" y="797"/>
                    <a:pt x="880" y="797"/>
                  </a:cubicBezTo>
                  <a:cubicBezTo>
                    <a:pt x="880" y="19"/>
                    <a:pt x="880" y="19"/>
                    <a:pt x="880" y="19"/>
                  </a:cubicBezTo>
                  <a:cubicBezTo>
                    <a:pt x="880" y="7"/>
                    <a:pt x="873" y="0"/>
                    <a:pt x="861" y="0"/>
                  </a:cubicBezTo>
                  <a:cubicBezTo>
                    <a:pt x="861" y="0"/>
                    <a:pt x="861" y="0"/>
                    <a:pt x="19" y="108"/>
                  </a:cubicBezTo>
                  <a:cubicBezTo>
                    <a:pt x="9" y="108"/>
                    <a:pt x="0" y="117"/>
                    <a:pt x="0" y="127"/>
                  </a:cubicBezTo>
                  <a:cubicBezTo>
                    <a:pt x="0" y="127"/>
                    <a:pt x="0" y="127"/>
                    <a:pt x="0" y="671"/>
                  </a:cubicBezTo>
                  <a:cubicBezTo>
                    <a:pt x="0" y="683"/>
                    <a:pt x="9" y="690"/>
                    <a:pt x="19" y="690"/>
                  </a:cubicBezTo>
                  <a:cubicBezTo>
                    <a:pt x="19" y="690"/>
                    <a:pt x="19" y="690"/>
                    <a:pt x="861" y="813"/>
                  </a:cubicBezTo>
                  <a:cubicBezTo>
                    <a:pt x="873" y="813"/>
                    <a:pt x="880" y="806"/>
                    <a:pt x="880" y="7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616831" y="3585362"/>
            <a:ext cx="558591" cy="482527"/>
            <a:chOff x="7787278" y="3950661"/>
            <a:chExt cx="942657" cy="707650"/>
          </a:xfrm>
          <a:solidFill>
            <a:schemeClr val="bg1"/>
          </a:solidFill>
        </p:grpSpPr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7787278" y="3950661"/>
              <a:ext cx="942657" cy="707650"/>
            </a:xfrm>
            <a:custGeom>
              <a:avLst/>
              <a:gdLst>
                <a:gd name="connsiteX0" fmla="*/ 1124567 w 1367015"/>
                <a:gd name="connsiteY0" fmla="*/ 922337 h 1238250"/>
                <a:gd name="connsiteX1" fmla="*/ 1113855 w 1367015"/>
                <a:gd name="connsiteY1" fmla="*/ 931647 h 1238250"/>
                <a:gd name="connsiteX2" fmla="*/ 1058863 w 1367015"/>
                <a:gd name="connsiteY2" fmla="*/ 985360 h 1238250"/>
                <a:gd name="connsiteX3" fmla="*/ 1269544 w 1367015"/>
                <a:gd name="connsiteY3" fmla="*/ 1205939 h 1238250"/>
                <a:gd name="connsiteX4" fmla="*/ 1282399 w 1367015"/>
                <a:gd name="connsiteY4" fmla="*/ 1205939 h 1238250"/>
                <a:gd name="connsiteX5" fmla="*/ 1313109 w 1367015"/>
                <a:gd name="connsiteY5" fmla="*/ 1185886 h 1238250"/>
                <a:gd name="connsiteX6" fmla="*/ 1333820 w 1367015"/>
                <a:gd name="connsiteY6" fmla="*/ 1155807 h 1238250"/>
                <a:gd name="connsiteX7" fmla="*/ 1335248 w 1367015"/>
                <a:gd name="connsiteY7" fmla="*/ 1142916 h 1238250"/>
                <a:gd name="connsiteX8" fmla="*/ 1133851 w 1367015"/>
                <a:gd name="connsiteY8" fmla="*/ 931647 h 1238250"/>
                <a:gd name="connsiteX9" fmla="*/ 1124567 w 1367015"/>
                <a:gd name="connsiteY9" fmla="*/ 922337 h 1238250"/>
                <a:gd name="connsiteX10" fmla="*/ 925229 w 1367015"/>
                <a:gd name="connsiteY10" fmla="*/ 906462 h 1238250"/>
                <a:gd name="connsiteX11" fmla="*/ 949325 w 1367015"/>
                <a:gd name="connsiteY11" fmla="*/ 931862 h 1238250"/>
                <a:gd name="connsiteX12" fmla="*/ 869950 w 1367015"/>
                <a:gd name="connsiteY12" fmla="*/ 931862 h 1238250"/>
                <a:gd name="connsiteX13" fmla="*/ 925229 w 1367015"/>
                <a:gd name="connsiteY13" fmla="*/ 906462 h 1238250"/>
                <a:gd name="connsiteX14" fmla="*/ 1124927 w 1367015"/>
                <a:gd name="connsiteY14" fmla="*/ 884237 h 1238250"/>
                <a:gd name="connsiteX15" fmla="*/ 1135645 w 1367015"/>
                <a:gd name="connsiteY15" fmla="*/ 889243 h 1238250"/>
                <a:gd name="connsiteX16" fmla="*/ 1146363 w 1367015"/>
                <a:gd name="connsiteY16" fmla="*/ 900686 h 1238250"/>
                <a:gd name="connsiteX17" fmla="*/ 1176374 w 1367015"/>
                <a:gd name="connsiteY17" fmla="*/ 932154 h 1238250"/>
                <a:gd name="connsiteX18" fmla="*/ 1357152 w 1367015"/>
                <a:gd name="connsiteY18" fmla="*/ 1121676 h 1238250"/>
                <a:gd name="connsiteX19" fmla="*/ 1363582 w 1367015"/>
                <a:gd name="connsiteY19" fmla="*/ 1166017 h 1238250"/>
                <a:gd name="connsiteX20" fmla="*/ 1335001 w 1367015"/>
                <a:gd name="connsiteY20" fmla="*/ 1208928 h 1238250"/>
                <a:gd name="connsiteX21" fmla="*/ 1290700 w 1367015"/>
                <a:gd name="connsiteY21" fmla="*/ 1236105 h 1238250"/>
                <a:gd name="connsiteX22" fmla="*/ 1273551 w 1367015"/>
                <a:gd name="connsiteY22" fmla="*/ 1238250 h 1238250"/>
                <a:gd name="connsiteX23" fmla="*/ 1246398 w 1367015"/>
                <a:gd name="connsiteY23" fmla="*/ 1227522 h 1238250"/>
                <a:gd name="connsiteX24" fmla="*/ 1024892 w 1367015"/>
                <a:gd name="connsiteY24" fmla="*/ 996520 h 1238250"/>
                <a:gd name="connsiteX25" fmla="*/ 1025606 w 1367015"/>
                <a:gd name="connsiteY25" fmla="*/ 974350 h 1238250"/>
                <a:gd name="connsiteX26" fmla="*/ 1068478 w 1367015"/>
                <a:gd name="connsiteY26" fmla="*/ 932154 h 1238250"/>
                <a:gd name="connsiteX27" fmla="*/ 1076338 w 1367015"/>
                <a:gd name="connsiteY27" fmla="*/ 925002 h 1238250"/>
                <a:gd name="connsiteX28" fmla="*/ 1100633 w 1367015"/>
                <a:gd name="connsiteY28" fmla="*/ 900686 h 1238250"/>
                <a:gd name="connsiteX29" fmla="*/ 1104205 w 1367015"/>
                <a:gd name="connsiteY29" fmla="*/ 897826 h 1238250"/>
                <a:gd name="connsiteX30" fmla="*/ 1113494 w 1367015"/>
                <a:gd name="connsiteY30" fmla="*/ 889243 h 1238250"/>
                <a:gd name="connsiteX31" fmla="*/ 1124927 w 1367015"/>
                <a:gd name="connsiteY31" fmla="*/ 884237 h 1238250"/>
                <a:gd name="connsiteX32" fmla="*/ 346518 w 1367015"/>
                <a:gd name="connsiteY32" fmla="*/ 565150 h 1238250"/>
                <a:gd name="connsiteX33" fmla="*/ 306388 w 1367015"/>
                <a:gd name="connsiteY33" fmla="*/ 606784 h 1238250"/>
                <a:gd name="connsiteX34" fmla="*/ 306388 w 1367015"/>
                <a:gd name="connsiteY34" fmla="*/ 608938 h 1238250"/>
                <a:gd name="connsiteX35" fmla="*/ 319765 w 1367015"/>
                <a:gd name="connsiteY35" fmla="*/ 636933 h 1238250"/>
                <a:gd name="connsiteX36" fmla="*/ 346518 w 1367015"/>
                <a:gd name="connsiteY36" fmla="*/ 647700 h 1238250"/>
                <a:gd name="connsiteX37" fmla="*/ 387351 w 1367015"/>
                <a:gd name="connsiteY37" fmla="*/ 606784 h 1238250"/>
                <a:gd name="connsiteX38" fmla="*/ 383127 w 1367015"/>
                <a:gd name="connsiteY38" fmla="*/ 588838 h 1238250"/>
                <a:gd name="connsiteX39" fmla="*/ 360598 w 1367015"/>
                <a:gd name="connsiteY39" fmla="*/ 568021 h 1238250"/>
                <a:gd name="connsiteX40" fmla="*/ 346518 w 1367015"/>
                <a:gd name="connsiteY40" fmla="*/ 565150 h 1238250"/>
                <a:gd name="connsiteX41" fmla="*/ 760846 w 1367015"/>
                <a:gd name="connsiteY41" fmla="*/ 492125 h 1238250"/>
                <a:gd name="connsiteX42" fmla="*/ 735591 w 1367015"/>
                <a:gd name="connsiteY42" fmla="*/ 499181 h 1238250"/>
                <a:gd name="connsiteX43" fmla="*/ 710335 w 1367015"/>
                <a:gd name="connsiteY43" fmla="*/ 535164 h 1238250"/>
                <a:gd name="connsiteX44" fmla="*/ 709613 w 1367015"/>
                <a:gd name="connsiteY44" fmla="*/ 542925 h 1238250"/>
                <a:gd name="connsiteX45" fmla="*/ 760846 w 1367015"/>
                <a:gd name="connsiteY45" fmla="*/ 593725 h 1238250"/>
                <a:gd name="connsiteX46" fmla="*/ 767341 w 1367015"/>
                <a:gd name="connsiteY46" fmla="*/ 593725 h 1238250"/>
                <a:gd name="connsiteX47" fmla="*/ 804864 w 1367015"/>
                <a:gd name="connsiteY47" fmla="*/ 570442 h 1238250"/>
                <a:gd name="connsiteX48" fmla="*/ 812801 w 1367015"/>
                <a:gd name="connsiteY48" fmla="*/ 542925 h 1238250"/>
                <a:gd name="connsiteX49" fmla="*/ 812801 w 1367015"/>
                <a:gd name="connsiteY49" fmla="*/ 539397 h 1238250"/>
                <a:gd name="connsiteX50" fmla="*/ 768062 w 1367015"/>
                <a:gd name="connsiteY50" fmla="*/ 492831 h 1238250"/>
                <a:gd name="connsiteX51" fmla="*/ 760846 w 1367015"/>
                <a:gd name="connsiteY51" fmla="*/ 492125 h 1238250"/>
                <a:gd name="connsiteX52" fmla="*/ 891455 w 1367015"/>
                <a:gd name="connsiteY52" fmla="*/ 415925 h 1238250"/>
                <a:gd name="connsiteX53" fmla="*/ 915035 w 1367015"/>
                <a:gd name="connsiteY53" fmla="*/ 434485 h 1238250"/>
                <a:gd name="connsiteX54" fmla="*/ 920751 w 1367015"/>
                <a:gd name="connsiteY54" fmla="*/ 439482 h 1238250"/>
                <a:gd name="connsiteX55" fmla="*/ 877164 w 1367015"/>
                <a:gd name="connsiteY55" fmla="*/ 474460 h 1238250"/>
                <a:gd name="connsiteX56" fmla="*/ 850012 w 1367015"/>
                <a:gd name="connsiteY56" fmla="*/ 496589 h 1238250"/>
                <a:gd name="connsiteX57" fmla="*/ 838579 w 1367015"/>
                <a:gd name="connsiteY57" fmla="*/ 505155 h 1238250"/>
                <a:gd name="connsiteX58" fmla="*/ 844296 w 1367015"/>
                <a:gd name="connsiteY58" fmla="*/ 519432 h 1238250"/>
                <a:gd name="connsiteX59" fmla="*/ 847154 w 1367015"/>
                <a:gd name="connsiteY59" fmla="*/ 542989 h 1238250"/>
                <a:gd name="connsiteX60" fmla="*/ 845725 w 1367015"/>
                <a:gd name="connsiteY60" fmla="*/ 561549 h 1238250"/>
                <a:gd name="connsiteX61" fmla="*/ 824289 w 1367015"/>
                <a:gd name="connsiteY61" fmla="*/ 601524 h 1238250"/>
                <a:gd name="connsiteX62" fmla="*/ 761409 w 1367015"/>
                <a:gd name="connsiteY62" fmla="*/ 628650 h 1238250"/>
                <a:gd name="connsiteX63" fmla="*/ 676379 w 1367015"/>
                <a:gd name="connsiteY63" fmla="*/ 542989 h 1238250"/>
                <a:gd name="connsiteX64" fmla="*/ 678523 w 1367015"/>
                <a:gd name="connsiteY64" fmla="*/ 523715 h 1238250"/>
                <a:gd name="connsiteX65" fmla="*/ 582775 w 1367015"/>
                <a:gd name="connsiteY65" fmla="*/ 477316 h 1238250"/>
                <a:gd name="connsiteX66" fmla="*/ 569913 w 1367015"/>
                <a:gd name="connsiteY66" fmla="*/ 470891 h 1238250"/>
                <a:gd name="connsiteX67" fmla="*/ 594208 w 1367015"/>
                <a:gd name="connsiteY67" fmla="*/ 441623 h 1238250"/>
                <a:gd name="connsiteX68" fmla="*/ 694957 w 1367015"/>
                <a:gd name="connsiteY68" fmla="*/ 490165 h 1238250"/>
                <a:gd name="connsiteX69" fmla="*/ 715679 w 1367015"/>
                <a:gd name="connsiteY69" fmla="*/ 470891 h 1238250"/>
                <a:gd name="connsiteX70" fmla="*/ 761409 w 1367015"/>
                <a:gd name="connsiteY70" fmla="*/ 457328 h 1238250"/>
                <a:gd name="connsiteX71" fmla="*/ 789991 w 1367015"/>
                <a:gd name="connsiteY71" fmla="*/ 462325 h 1238250"/>
                <a:gd name="connsiteX72" fmla="*/ 815714 w 1367015"/>
                <a:gd name="connsiteY72" fmla="*/ 476602 h 1238250"/>
                <a:gd name="connsiteX73" fmla="*/ 831434 w 1367015"/>
                <a:gd name="connsiteY73" fmla="*/ 464466 h 1238250"/>
                <a:gd name="connsiteX74" fmla="*/ 891455 w 1367015"/>
                <a:gd name="connsiteY74" fmla="*/ 415925 h 1238250"/>
                <a:gd name="connsiteX75" fmla="*/ 772661 w 1367015"/>
                <a:gd name="connsiteY75" fmla="*/ 346605 h 1238250"/>
                <a:gd name="connsiteX76" fmla="*/ 628158 w 1367015"/>
                <a:gd name="connsiteY76" fmla="*/ 379415 h 1238250"/>
                <a:gd name="connsiteX77" fmla="*/ 571784 w 1367015"/>
                <a:gd name="connsiteY77" fmla="*/ 420783 h 1238250"/>
                <a:gd name="connsiteX78" fmla="*/ 546809 w 1367015"/>
                <a:gd name="connsiteY78" fmla="*/ 449314 h 1238250"/>
                <a:gd name="connsiteX79" fmla="*/ 524687 w 1367015"/>
                <a:gd name="connsiteY79" fmla="*/ 482123 h 1238250"/>
                <a:gd name="connsiteX80" fmla="*/ 564648 w 1367015"/>
                <a:gd name="connsiteY80" fmla="*/ 800235 h 1238250"/>
                <a:gd name="connsiteX81" fmla="*/ 678110 w 1367015"/>
                <a:gd name="connsiteY81" fmla="*/ 869420 h 1238250"/>
                <a:gd name="connsiteX82" fmla="*/ 837955 w 1367015"/>
                <a:gd name="connsiteY82" fmla="*/ 869420 h 1238250"/>
                <a:gd name="connsiteX83" fmla="*/ 921445 w 1367015"/>
                <a:gd name="connsiteY83" fmla="*/ 826625 h 1238250"/>
                <a:gd name="connsiteX84" fmla="*/ 944280 w 1367015"/>
                <a:gd name="connsiteY84" fmla="*/ 807367 h 1238250"/>
                <a:gd name="connsiteX85" fmla="*/ 967115 w 1367015"/>
                <a:gd name="connsiteY85" fmla="*/ 783117 h 1238250"/>
                <a:gd name="connsiteX86" fmla="*/ 959979 w 1367015"/>
                <a:gd name="connsiteY86" fmla="*/ 437902 h 1238250"/>
                <a:gd name="connsiteX87" fmla="*/ 951416 w 1367015"/>
                <a:gd name="connsiteY87" fmla="*/ 427916 h 1238250"/>
                <a:gd name="connsiteX88" fmla="*/ 937858 w 1367015"/>
                <a:gd name="connsiteY88" fmla="*/ 415791 h 1238250"/>
                <a:gd name="connsiteX89" fmla="*/ 912882 w 1367015"/>
                <a:gd name="connsiteY89" fmla="*/ 395106 h 1238250"/>
                <a:gd name="connsiteX90" fmla="*/ 772661 w 1367015"/>
                <a:gd name="connsiteY90" fmla="*/ 346605 h 1238250"/>
                <a:gd name="connsiteX91" fmla="*/ 785477 w 1367015"/>
                <a:gd name="connsiteY91" fmla="*/ 308032 h 1238250"/>
                <a:gd name="connsiteX92" fmla="*/ 945296 w 1367015"/>
                <a:gd name="connsiteY92" fmla="*/ 370115 h 1238250"/>
                <a:gd name="connsiteX93" fmla="*/ 969609 w 1367015"/>
                <a:gd name="connsiteY93" fmla="*/ 390809 h 1238250"/>
                <a:gd name="connsiteX94" fmla="*/ 980335 w 1367015"/>
                <a:gd name="connsiteY94" fmla="*/ 400799 h 1238250"/>
                <a:gd name="connsiteX95" fmla="*/ 991061 w 1367015"/>
                <a:gd name="connsiteY95" fmla="*/ 413644 h 1238250"/>
                <a:gd name="connsiteX96" fmla="*/ 1008223 w 1367015"/>
                <a:gd name="connsiteY96" fmla="*/ 791852 h 1238250"/>
                <a:gd name="connsiteX97" fmla="*/ 1080445 w 1367015"/>
                <a:gd name="connsiteY97" fmla="*/ 866780 h 1238250"/>
                <a:gd name="connsiteX98" fmla="*/ 1081875 w 1367015"/>
                <a:gd name="connsiteY98" fmla="*/ 868921 h 1238250"/>
                <a:gd name="connsiteX99" fmla="*/ 1081875 w 1367015"/>
                <a:gd name="connsiteY99" fmla="*/ 876770 h 1238250"/>
                <a:gd name="connsiteX100" fmla="*/ 1056848 w 1367015"/>
                <a:gd name="connsiteY100" fmla="*/ 900319 h 1238250"/>
                <a:gd name="connsiteX101" fmla="*/ 1055418 w 1367015"/>
                <a:gd name="connsiteY101" fmla="*/ 901746 h 1238250"/>
                <a:gd name="connsiteX102" fmla="*/ 1023954 w 1367015"/>
                <a:gd name="connsiteY102" fmla="*/ 931717 h 1238250"/>
                <a:gd name="connsiteX103" fmla="*/ 1014658 w 1367015"/>
                <a:gd name="connsiteY103" fmla="*/ 940994 h 1238250"/>
                <a:gd name="connsiteX104" fmla="*/ 1003217 w 1367015"/>
                <a:gd name="connsiteY104" fmla="*/ 940994 h 1238250"/>
                <a:gd name="connsiteX105" fmla="*/ 993921 w 1367015"/>
                <a:gd name="connsiteY105" fmla="*/ 931717 h 1238250"/>
                <a:gd name="connsiteX106" fmla="*/ 963888 w 1367015"/>
                <a:gd name="connsiteY106" fmla="*/ 900319 h 1238250"/>
                <a:gd name="connsiteX107" fmla="*/ 933140 w 1367015"/>
                <a:gd name="connsiteY107" fmla="*/ 868921 h 1238250"/>
                <a:gd name="connsiteX108" fmla="*/ 930995 w 1367015"/>
                <a:gd name="connsiteY108" fmla="*/ 866780 h 1238250"/>
                <a:gd name="connsiteX109" fmla="*/ 926704 w 1367015"/>
                <a:gd name="connsiteY109" fmla="*/ 868921 h 1238250"/>
                <a:gd name="connsiteX110" fmla="*/ 864493 w 1367015"/>
                <a:gd name="connsiteY110" fmla="*/ 900319 h 1238250"/>
                <a:gd name="connsiteX111" fmla="*/ 651400 w 1367015"/>
                <a:gd name="connsiteY111" fmla="*/ 900319 h 1238250"/>
                <a:gd name="connsiteX112" fmla="*/ 589189 w 1367015"/>
                <a:gd name="connsiteY112" fmla="*/ 868921 h 1238250"/>
                <a:gd name="connsiteX113" fmla="*/ 536988 w 1367015"/>
                <a:gd name="connsiteY113" fmla="*/ 826105 h 1238250"/>
                <a:gd name="connsiteX114" fmla="*/ 457615 w 1367015"/>
                <a:gd name="connsiteY114" fmla="*/ 554937 h 1238250"/>
                <a:gd name="connsiteX115" fmla="*/ 481213 w 1367015"/>
                <a:gd name="connsiteY115" fmla="*/ 482863 h 1238250"/>
                <a:gd name="connsiteX116" fmla="*/ 530553 w 1367015"/>
                <a:gd name="connsiteY116" fmla="*/ 408649 h 1238250"/>
                <a:gd name="connsiteX117" fmla="*/ 545569 w 1367015"/>
                <a:gd name="connsiteY117" fmla="*/ 392236 h 1238250"/>
                <a:gd name="connsiteX118" fmla="*/ 592049 w 1367015"/>
                <a:gd name="connsiteY118" fmla="*/ 355843 h 1238250"/>
                <a:gd name="connsiteX119" fmla="*/ 619222 w 1367015"/>
                <a:gd name="connsiteY119" fmla="*/ 340143 h 1238250"/>
                <a:gd name="connsiteX120" fmla="*/ 785477 w 1367015"/>
                <a:gd name="connsiteY120" fmla="*/ 308032 h 1238250"/>
                <a:gd name="connsiteX121" fmla="*/ 555676 w 1367015"/>
                <a:gd name="connsiteY121" fmla="*/ 304800 h 1238250"/>
                <a:gd name="connsiteX122" fmla="*/ 595313 w 1367015"/>
                <a:gd name="connsiteY122" fmla="*/ 316982 h 1238250"/>
                <a:gd name="connsiteX123" fmla="*/ 563462 w 1367015"/>
                <a:gd name="connsiteY123" fmla="*/ 337046 h 1238250"/>
                <a:gd name="connsiteX124" fmla="*/ 555676 w 1367015"/>
                <a:gd name="connsiteY124" fmla="*/ 336330 h 1238250"/>
                <a:gd name="connsiteX125" fmla="*/ 515331 w 1367015"/>
                <a:gd name="connsiteY125" fmla="*/ 377175 h 1238250"/>
                <a:gd name="connsiteX126" fmla="*/ 515331 w 1367015"/>
                <a:gd name="connsiteY126" fmla="*/ 379325 h 1238250"/>
                <a:gd name="connsiteX127" fmla="*/ 490558 w 1367015"/>
                <a:gd name="connsiteY127" fmla="*/ 407988 h 1238250"/>
                <a:gd name="connsiteX128" fmla="*/ 484188 w 1367015"/>
                <a:gd name="connsiteY128" fmla="*/ 377175 h 1238250"/>
                <a:gd name="connsiteX129" fmla="*/ 555676 w 1367015"/>
                <a:gd name="connsiteY129" fmla="*/ 304800 h 1238250"/>
                <a:gd name="connsiteX130" fmla="*/ 1089384 w 1367015"/>
                <a:gd name="connsiteY130" fmla="*/ 233362 h 1238250"/>
                <a:gd name="connsiteX131" fmla="*/ 1047750 w 1367015"/>
                <a:gd name="connsiteY131" fmla="*/ 274996 h 1238250"/>
                <a:gd name="connsiteX132" fmla="*/ 1049186 w 1367015"/>
                <a:gd name="connsiteY132" fmla="*/ 286481 h 1238250"/>
                <a:gd name="connsiteX133" fmla="*/ 1069285 w 1367015"/>
                <a:gd name="connsiteY133" fmla="*/ 310887 h 1238250"/>
                <a:gd name="connsiteX134" fmla="*/ 1089384 w 1367015"/>
                <a:gd name="connsiteY134" fmla="*/ 315912 h 1238250"/>
                <a:gd name="connsiteX135" fmla="*/ 1130300 w 1367015"/>
                <a:gd name="connsiteY135" fmla="*/ 274996 h 1238250"/>
                <a:gd name="connsiteX136" fmla="*/ 1128865 w 1367015"/>
                <a:gd name="connsiteY136" fmla="*/ 264229 h 1238250"/>
                <a:gd name="connsiteX137" fmla="*/ 1109483 w 1367015"/>
                <a:gd name="connsiteY137" fmla="*/ 239105 h 1238250"/>
                <a:gd name="connsiteX138" fmla="*/ 1089384 w 1367015"/>
                <a:gd name="connsiteY138" fmla="*/ 233362 h 1238250"/>
                <a:gd name="connsiteX139" fmla="*/ 15705 w 1367015"/>
                <a:gd name="connsiteY139" fmla="*/ 0 h 1238250"/>
                <a:gd name="connsiteX140" fmla="*/ 1289220 w 1367015"/>
                <a:gd name="connsiteY140" fmla="*/ 0 h 1238250"/>
                <a:gd name="connsiteX141" fmla="*/ 1304925 w 1367015"/>
                <a:gd name="connsiteY141" fmla="*/ 15698 h 1238250"/>
                <a:gd name="connsiteX142" fmla="*/ 1304925 w 1367015"/>
                <a:gd name="connsiteY142" fmla="*/ 916166 h 1238250"/>
                <a:gd name="connsiteX143" fmla="*/ 1289220 w 1367015"/>
                <a:gd name="connsiteY143" fmla="*/ 931863 h 1238250"/>
                <a:gd name="connsiteX144" fmla="*/ 1219977 w 1367015"/>
                <a:gd name="connsiteY144" fmla="*/ 931863 h 1238250"/>
                <a:gd name="connsiteX145" fmla="*/ 1189995 w 1367015"/>
                <a:gd name="connsiteY145" fmla="*/ 900468 h 1238250"/>
                <a:gd name="connsiteX146" fmla="*/ 1273516 w 1367015"/>
                <a:gd name="connsiteY146" fmla="*/ 900468 h 1238250"/>
                <a:gd name="connsiteX147" fmla="*/ 1273516 w 1367015"/>
                <a:gd name="connsiteY147" fmla="*/ 151267 h 1238250"/>
                <a:gd name="connsiteX148" fmla="*/ 1242106 w 1367015"/>
                <a:gd name="connsiteY148" fmla="*/ 175527 h 1238250"/>
                <a:gd name="connsiteX149" fmla="*/ 1154302 w 1367015"/>
                <a:gd name="connsiteY149" fmla="*/ 243312 h 1238250"/>
                <a:gd name="connsiteX150" fmla="*/ 1161441 w 1367015"/>
                <a:gd name="connsiteY150" fmla="*/ 274707 h 1238250"/>
                <a:gd name="connsiteX151" fmla="*/ 1089341 w 1367015"/>
                <a:gd name="connsiteY151" fmla="*/ 346773 h 1238250"/>
                <a:gd name="connsiteX152" fmla="*/ 1043655 w 1367015"/>
                <a:gd name="connsiteY152" fmla="*/ 331076 h 1238250"/>
                <a:gd name="connsiteX153" fmla="*/ 993685 w 1367015"/>
                <a:gd name="connsiteY153" fmla="*/ 371033 h 1238250"/>
                <a:gd name="connsiteX154" fmla="*/ 969414 w 1367015"/>
                <a:gd name="connsiteY154" fmla="*/ 349627 h 1238250"/>
                <a:gd name="connsiteX155" fmla="*/ 1024381 w 1367015"/>
                <a:gd name="connsiteY155" fmla="*/ 306102 h 1238250"/>
                <a:gd name="connsiteX156" fmla="*/ 1016528 w 1367015"/>
                <a:gd name="connsiteY156" fmla="*/ 274707 h 1238250"/>
                <a:gd name="connsiteX157" fmla="*/ 1089341 w 1367015"/>
                <a:gd name="connsiteY157" fmla="*/ 201928 h 1238250"/>
                <a:gd name="connsiteX158" fmla="*/ 1135028 w 1367015"/>
                <a:gd name="connsiteY158" fmla="*/ 219052 h 1238250"/>
                <a:gd name="connsiteX159" fmla="*/ 1242106 w 1367015"/>
                <a:gd name="connsiteY159" fmla="*/ 136283 h 1238250"/>
                <a:gd name="connsiteX160" fmla="*/ 1269946 w 1367015"/>
                <a:gd name="connsiteY160" fmla="*/ 114878 h 1238250"/>
                <a:gd name="connsiteX161" fmla="*/ 1273516 w 1367015"/>
                <a:gd name="connsiteY161" fmla="*/ 112737 h 1238250"/>
                <a:gd name="connsiteX162" fmla="*/ 1273516 w 1367015"/>
                <a:gd name="connsiteY162" fmla="*/ 31395 h 1238250"/>
                <a:gd name="connsiteX163" fmla="*/ 31410 w 1367015"/>
                <a:gd name="connsiteY163" fmla="*/ 31395 h 1238250"/>
                <a:gd name="connsiteX164" fmla="*/ 31410 w 1367015"/>
                <a:gd name="connsiteY164" fmla="*/ 741352 h 1238250"/>
                <a:gd name="connsiteX165" fmla="*/ 62819 w 1367015"/>
                <a:gd name="connsiteY165" fmla="*/ 726368 h 1238250"/>
                <a:gd name="connsiteX166" fmla="*/ 276976 w 1367015"/>
                <a:gd name="connsiteY166" fmla="*/ 623621 h 1238250"/>
                <a:gd name="connsiteX167" fmla="*/ 274834 w 1367015"/>
                <a:gd name="connsiteY167" fmla="*/ 607210 h 1238250"/>
                <a:gd name="connsiteX168" fmla="*/ 346933 w 1367015"/>
                <a:gd name="connsiteY168" fmla="*/ 534430 h 1238250"/>
                <a:gd name="connsiteX169" fmla="*/ 383340 w 1367015"/>
                <a:gd name="connsiteY169" fmla="*/ 543706 h 1238250"/>
                <a:gd name="connsiteX170" fmla="*/ 454725 w 1367015"/>
                <a:gd name="connsiteY170" fmla="*/ 465218 h 1238250"/>
                <a:gd name="connsiteX171" fmla="*/ 429026 w 1367015"/>
                <a:gd name="connsiteY171" fmla="*/ 540138 h 1238250"/>
                <a:gd name="connsiteX172" fmla="*/ 406183 w 1367015"/>
                <a:gd name="connsiteY172" fmla="*/ 565112 h 1238250"/>
                <a:gd name="connsiteX173" fmla="*/ 419746 w 1367015"/>
                <a:gd name="connsiteY173" fmla="*/ 607210 h 1238250"/>
                <a:gd name="connsiteX174" fmla="*/ 346933 w 1367015"/>
                <a:gd name="connsiteY174" fmla="*/ 679275 h 1238250"/>
                <a:gd name="connsiteX175" fmla="*/ 290539 w 1367015"/>
                <a:gd name="connsiteY175" fmla="*/ 651448 h 1238250"/>
                <a:gd name="connsiteX176" fmla="*/ 62819 w 1367015"/>
                <a:gd name="connsiteY176" fmla="*/ 761331 h 1238250"/>
                <a:gd name="connsiteX177" fmla="*/ 31410 w 1367015"/>
                <a:gd name="connsiteY177" fmla="*/ 776315 h 1238250"/>
                <a:gd name="connsiteX178" fmla="*/ 31410 w 1367015"/>
                <a:gd name="connsiteY178" fmla="*/ 900468 h 1238250"/>
                <a:gd name="connsiteX179" fmla="*/ 579650 w 1367015"/>
                <a:gd name="connsiteY179" fmla="*/ 900468 h 1238250"/>
                <a:gd name="connsiteX180" fmla="*/ 645324 w 1367015"/>
                <a:gd name="connsiteY180" fmla="*/ 931863 h 1238250"/>
                <a:gd name="connsiteX181" fmla="*/ 15705 w 1367015"/>
                <a:gd name="connsiteY181" fmla="*/ 931863 h 1238250"/>
                <a:gd name="connsiteX182" fmla="*/ 0 w 1367015"/>
                <a:gd name="connsiteY182" fmla="*/ 916166 h 1238250"/>
                <a:gd name="connsiteX183" fmla="*/ 0 w 1367015"/>
                <a:gd name="connsiteY183" fmla="*/ 15698 h 1238250"/>
                <a:gd name="connsiteX184" fmla="*/ 15705 w 1367015"/>
                <a:gd name="connsiteY184" fmla="*/ 0 h 1238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367015" h="1238250">
                  <a:moveTo>
                    <a:pt x="1124567" y="922337"/>
                  </a:moveTo>
                  <a:cubicBezTo>
                    <a:pt x="1124567" y="922337"/>
                    <a:pt x="1124567" y="922337"/>
                    <a:pt x="1113855" y="931647"/>
                  </a:cubicBezTo>
                  <a:cubicBezTo>
                    <a:pt x="1113855" y="931647"/>
                    <a:pt x="1113855" y="931647"/>
                    <a:pt x="1058863" y="985360"/>
                  </a:cubicBezTo>
                  <a:cubicBezTo>
                    <a:pt x="1269544" y="1205939"/>
                    <a:pt x="1269544" y="1205939"/>
                    <a:pt x="1269544" y="1205939"/>
                  </a:cubicBezTo>
                  <a:cubicBezTo>
                    <a:pt x="1270258" y="1206655"/>
                    <a:pt x="1274543" y="1208087"/>
                    <a:pt x="1282399" y="1205939"/>
                  </a:cubicBezTo>
                  <a:cubicBezTo>
                    <a:pt x="1292398" y="1203074"/>
                    <a:pt x="1303110" y="1195912"/>
                    <a:pt x="1313109" y="1185886"/>
                  </a:cubicBezTo>
                  <a:cubicBezTo>
                    <a:pt x="1323107" y="1176576"/>
                    <a:pt x="1330963" y="1165833"/>
                    <a:pt x="1333820" y="1155807"/>
                  </a:cubicBezTo>
                  <a:cubicBezTo>
                    <a:pt x="1336676" y="1147929"/>
                    <a:pt x="1335962" y="1143632"/>
                    <a:pt x="1335248" y="1142916"/>
                  </a:cubicBezTo>
                  <a:cubicBezTo>
                    <a:pt x="1198841" y="1000399"/>
                    <a:pt x="1150277" y="949551"/>
                    <a:pt x="1133851" y="931647"/>
                  </a:cubicBezTo>
                  <a:cubicBezTo>
                    <a:pt x="1124567" y="922337"/>
                    <a:pt x="1124567" y="922337"/>
                    <a:pt x="1124567" y="922337"/>
                  </a:cubicBezTo>
                  <a:close/>
                  <a:moveTo>
                    <a:pt x="925229" y="906462"/>
                  </a:moveTo>
                  <a:cubicBezTo>
                    <a:pt x="925229" y="906462"/>
                    <a:pt x="925229" y="906462"/>
                    <a:pt x="949325" y="931862"/>
                  </a:cubicBezTo>
                  <a:cubicBezTo>
                    <a:pt x="949325" y="931862"/>
                    <a:pt x="949325" y="931862"/>
                    <a:pt x="869950" y="931862"/>
                  </a:cubicBezTo>
                  <a:cubicBezTo>
                    <a:pt x="889085" y="925331"/>
                    <a:pt x="907512" y="916622"/>
                    <a:pt x="925229" y="906462"/>
                  </a:cubicBezTo>
                  <a:close/>
                  <a:moveTo>
                    <a:pt x="1124927" y="884237"/>
                  </a:moveTo>
                  <a:cubicBezTo>
                    <a:pt x="1129214" y="884952"/>
                    <a:pt x="1132787" y="886383"/>
                    <a:pt x="1135645" y="889243"/>
                  </a:cubicBezTo>
                  <a:cubicBezTo>
                    <a:pt x="1139218" y="893534"/>
                    <a:pt x="1142790" y="897110"/>
                    <a:pt x="1146363" y="900686"/>
                  </a:cubicBezTo>
                  <a:cubicBezTo>
                    <a:pt x="1157081" y="912129"/>
                    <a:pt x="1167085" y="922857"/>
                    <a:pt x="1176374" y="932154"/>
                  </a:cubicBezTo>
                  <a:cubicBezTo>
                    <a:pt x="1357152" y="1121676"/>
                    <a:pt x="1357152" y="1121676"/>
                    <a:pt x="1357152" y="1121676"/>
                  </a:cubicBezTo>
                  <a:cubicBezTo>
                    <a:pt x="1367155" y="1131689"/>
                    <a:pt x="1370013" y="1148138"/>
                    <a:pt x="1363582" y="1166017"/>
                  </a:cubicBezTo>
                  <a:cubicBezTo>
                    <a:pt x="1358581" y="1181036"/>
                    <a:pt x="1348577" y="1196055"/>
                    <a:pt x="1335001" y="1208928"/>
                  </a:cubicBezTo>
                  <a:cubicBezTo>
                    <a:pt x="1321425" y="1221801"/>
                    <a:pt x="1305705" y="1231814"/>
                    <a:pt x="1290700" y="1236105"/>
                  </a:cubicBezTo>
                  <a:cubicBezTo>
                    <a:pt x="1284983" y="1237535"/>
                    <a:pt x="1279267" y="1238250"/>
                    <a:pt x="1273551" y="1238250"/>
                  </a:cubicBezTo>
                  <a:cubicBezTo>
                    <a:pt x="1262833" y="1238250"/>
                    <a:pt x="1252829" y="1234674"/>
                    <a:pt x="1246398" y="1227522"/>
                  </a:cubicBezTo>
                  <a:cubicBezTo>
                    <a:pt x="1024892" y="996520"/>
                    <a:pt x="1024892" y="996520"/>
                    <a:pt x="1024892" y="996520"/>
                  </a:cubicBezTo>
                  <a:cubicBezTo>
                    <a:pt x="1019175" y="990083"/>
                    <a:pt x="1019175" y="980071"/>
                    <a:pt x="1025606" y="974350"/>
                  </a:cubicBezTo>
                  <a:cubicBezTo>
                    <a:pt x="1042755" y="957185"/>
                    <a:pt x="1057046" y="943597"/>
                    <a:pt x="1068478" y="932154"/>
                  </a:cubicBezTo>
                  <a:cubicBezTo>
                    <a:pt x="1071336" y="930009"/>
                    <a:pt x="1073480" y="927148"/>
                    <a:pt x="1076338" y="925002"/>
                  </a:cubicBezTo>
                  <a:cubicBezTo>
                    <a:pt x="1087771" y="914275"/>
                    <a:pt x="1095631" y="906408"/>
                    <a:pt x="1100633" y="900686"/>
                  </a:cubicBezTo>
                  <a:cubicBezTo>
                    <a:pt x="1102062" y="899971"/>
                    <a:pt x="1103491" y="898541"/>
                    <a:pt x="1104205" y="897826"/>
                  </a:cubicBezTo>
                  <a:cubicBezTo>
                    <a:pt x="1113494" y="889243"/>
                    <a:pt x="1113494" y="889243"/>
                    <a:pt x="1113494" y="889243"/>
                  </a:cubicBezTo>
                  <a:cubicBezTo>
                    <a:pt x="1116352" y="886383"/>
                    <a:pt x="1120640" y="884237"/>
                    <a:pt x="1124927" y="884237"/>
                  </a:cubicBezTo>
                  <a:close/>
                  <a:moveTo>
                    <a:pt x="346518" y="565150"/>
                  </a:moveTo>
                  <a:cubicBezTo>
                    <a:pt x="324693" y="565150"/>
                    <a:pt x="306388" y="583814"/>
                    <a:pt x="306388" y="606784"/>
                  </a:cubicBezTo>
                  <a:cubicBezTo>
                    <a:pt x="306388" y="607502"/>
                    <a:pt x="306388" y="608220"/>
                    <a:pt x="306388" y="608938"/>
                  </a:cubicBezTo>
                  <a:cubicBezTo>
                    <a:pt x="307092" y="619705"/>
                    <a:pt x="312020" y="630472"/>
                    <a:pt x="319765" y="636933"/>
                  </a:cubicBezTo>
                  <a:cubicBezTo>
                    <a:pt x="326805" y="643393"/>
                    <a:pt x="336661" y="647700"/>
                    <a:pt x="346518" y="647700"/>
                  </a:cubicBezTo>
                  <a:cubicBezTo>
                    <a:pt x="369047" y="647700"/>
                    <a:pt x="387351" y="629037"/>
                    <a:pt x="387351" y="606784"/>
                  </a:cubicBezTo>
                  <a:cubicBezTo>
                    <a:pt x="387351" y="600324"/>
                    <a:pt x="385943" y="594581"/>
                    <a:pt x="383127" y="588838"/>
                  </a:cubicBezTo>
                  <a:cubicBezTo>
                    <a:pt x="378903" y="578789"/>
                    <a:pt x="370455" y="571611"/>
                    <a:pt x="360598" y="568021"/>
                  </a:cubicBezTo>
                  <a:cubicBezTo>
                    <a:pt x="356374" y="565868"/>
                    <a:pt x="351446" y="565150"/>
                    <a:pt x="346518" y="565150"/>
                  </a:cubicBezTo>
                  <a:close/>
                  <a:moveTo>
                    <a:pt x="760846" y="492125"/>
                  </a:moveTo>
                  <a:cubicBezTo>
                    <a:pt x="752187" y="492125"/>
                    <a:pt x="743528" y="494947"/>
                    <a:pt x="735591" y="499181"/>
                  </a:cubicBezTo>
                  <a:cubicBezTo>
                    <a:pt x="722602" y="506236"/>
                    <a:pt x="713221" y="519642"/>
                    <a:pt x="710335" y="535164"/>
                  </a:cubicBezTo>
                  <a:cubicBezTo>
                    <a:pt x="710335" y="537986"/>
                    <a:pt x="709613" y="540103"/>
                    <a:pt x="709613" y="542925"/>
                  </a:cubicBezTo>
                  <a:cubicBezTo>
                    <a:pt x="709613" y="571147"/>
                    <a:pt x="732704" y="593725"/>
                    <a:pt x="760846" y="593725"/>
                  </a:cubicBezTo>
                  <a:cubicBezTo>
                    <a:pt x="763011" y="593725"/>
                    <a:pt x="765176" y="593725"/>
                    <a:pt x="767341" y="593725"/>
                  </a:cubicBezTo>
                  <a:cubicBezTo>
                    <a:pt x="783216" y="591608"/>
                    <a:pt x="796926" y="583142"/>
                    <a:pt x="804864" y="570442"/>
                  </a:cubicBezTo>
                  <a:cubicBezTo>
                    <a:pt x="809915" y="562681"/>
                    <a:pt x="812801" y="553508"/>
                    <a:pt x="812801" y="542925"/>
                  </a:cubicBezTo>
                  <a:cubicBezTo>
                    <a:pt x="812801" y="542220"/>
                    <a:pt x="812801" y="540808"/>
                    <a:pt x="812801" y="539397"/>
                  </a:cubicBezTo>
                  <a:cubicBezTo>
                    <a:pt x="811358" y="515408"/>
                    <a:pt x="792597" y="495653"/>
                    <a:pt x="768062" y="492831"/>
                  </a:cubicBezTo>
                  <a:cubicBezTo>
                    <a:pt x="765898" y="492831"/>
                    <a:pt x="763733" y="492125"/>
                    <a:pt x="760846" y="492125"/>
                  </a:cubicBezTo>
                  <a:close/>
                  <a:moveTo>
                    <a:pt x="891455" y="415925"/>
                  </a:moveTo>
                  <a:cubicBezTo>
                    <a:pt x="899315" y="421636"/>
                    <a:pt x="907175" y="428060"/>
                    <a:pt x="915035" y="434485"/>
                  </a:cubicBezTo>
                  <a:cubicBezTo>
                    <a:pt x="917179" y="435913"/>
                    <a:pt x="918608" y="438054"/>
                    <a:pt x="920751" y="439482"/>
                  </a:cubicBezTo>
                  <a:cubicBezTo>
                    <a:pt x="920751" y="439482"/>
                    <a:pt x="920751" y="439482"/>
                    <a:pt x="877164" y="474460"/>
                  </a:cubicBezTo>
                  <a:cubicBezTo>
                    <a:pt x="869305" y="480885"/>
                    <a:pt x="860730" y="488023"/>
                    <a:pt x="850012" y="496589"/>
                  </a:cubicBezTo>
                  <a:cubicBezTo>
                    <a:pt x="846439" y="499445"/>
                    <a:pt x="842867" y="502300"/>
                    <a:pt x="838579" y="505155"/>
                  </a:cubicBezTo>
                  <a:cubicBezTo>
                    <a:pt x="840723" y="510152"/>
                    <a:pt x="842867" y="514435"/>
                    <a:pt x="844296" y="519432"/>
                  </a:cubicBezTo>
                  <a:cubicBezTo>
                    <a:pt x="846439" y="527285"/>
                    <a:pt x="847154" y="535137"/>
                    <a:pt x="847154" y="542989"/>
                  </a:cubicBezTo>
                  <a:cubicBezTo>
                    <a:pt x="847154" y="549414"/>
                    <a:pt x="846439" y="555124"/>
                    <a:pt x="845725" y="561549"/>
                  </a:cubicBezTo>
                  <a:cubicBezTo>
                    <a:pt x="842152" y="576540"/>
                    <a:pt x="835007" y="590103"/>
                    <a:pt x="824289" y="601524"/>
                  </a:cubicBezTo>
                  <a:cubicBezTo>
                    <a:pt x="809283" y="617942"/>
                    <a:pt x="786418" y="628650"/>
                    <a:pt x="761409" y="628650"/>
                  </a:cubicBezTo>
                  <a:cubicBezTo>
                    <a:pt x="714250" y="628650"/>
                    <a:pt x="676379" y="590103"/>
                    <a:pt x="676379" y="542989"/>
                  </a:cubicBezTo>
                  <a:cubicBezTo>
                    <a:pt x="676379" y="536564"/>
                    <a:pt x="677094" y="529426"/>
                    <a:pt x="678523" y="523715"/>
                  </a:cubicBezTo>
                  <a:cubicBezTo>
                    <a:pt x="678523" y="523715"/>
                    <a:pt x="678523" y="523715"/>
                    <a:pt x="582775" y="477316"/>
                  </a:cubicBezTo>
                  <a:cubicBezTo>
                    <a:pt x="578488" y="475174"/>
                    <a:pt x="574200" y="473033"/>
                    <a:pt x="569913" y="470891"/>
                  </a:cubicBezTo>
                  <a:cubicBezTo>
                    <a:pt x="577059" y="460183"/>
                    <a:pt x="585633" y="450903"/>
                    <a:pt x="594208" y="441623"/>
                  </a:cubicBezTo>
                  <a:cubicBezTo>
                    <a:pt x="594208" y="441623"/>
                    <a:pt x="594208" y="441623"/>
                    <a:pt x="694957" y="490165"/>
                  </a:cubicBezTo>
                  <a:cubicBezTo>
                    <a:pt x="700674" y="483026"/>
                    <a:pt x="707819" y="476602"/>
                    <a:pt x="715679" y="470891"/>
                  </a:cubicBezTo>
                  <a:cubicBezTo>
                    <a:pt x="728541" y="462325"/>
                    <a:pt x="744975" y="457328"/>
                    <a:pt x="761409" y="457328"/>
                  </a:cubicBezTo>
                  <a:cubicBezTo>
                    <a:pt x="771413" y="457328"/>
                    <a:pt x="781416" y="459470"/>
                    <a:pt x="789991" y="462325"/>
                  </a:cubicBezTo>
                  <a:cubicBezTo>
                    <a:pt x="799280" y="465894"/>
                    <a:pt x="808569" y="470891"/>
                    <a:pt x="815714" y="476602"/>
                  </a:cubicBezTo>
                  <a:cubicBezTo>
                    <a:pt x="815714" y="476602"/>
                    <a:pt x="815714" y="476602"/>
                    <a:pt x="831434" y="464466"/>
                  </a:cubicBezTo>
                  <a:cubicBezTo>
                    <a:pt x="842152" y="455900"/>
                    <a:pt x="860730" y="440910"/>
                    <a:pt x="891455" y="415925"/>
                  </a:cubicBezTo>
                  <a:close/>
                  <a:moveTo>
                    <a:pt x="772661" y="346605"/>
                  </a:moveTo>
                  <a:cubicBezTo>
                    <a:pt x="723066" y="343930"/>
                    <a:pt x="672758" y="354807"/>
                    <a:pt x="628158" y="379415"/>
                  </a:cubicBezTo>
                  <a:cubicBezTo>
                    <a:pt x="608178" y="390827"/>
                    <a:pt x="589624" y="404379"/>
                    <a:pt x="571784" y="420783"/>
                  </a:cubicBezTo>
                  <a:cubicBezTo>
                    <a:pt x="562508" y="430056"/>
                    <a:pt x="554658" y="439328"/>
                    <a:pt x="546809" y="449314"/>
                  </a:cubicBezTo>
                  <a:cubicBezTo>
                    <a:pt x="538245" y="460012"/>
                    <a:pt x="531109" y="470711"/>
                    <a:pt x="524687" y="482123"/>
                  </a:cubicBezTo>
                  <a:cubicBezTo>
                    <a:pt x="468313" y="582692"/>
                    <a:pt x="481158" y="712504"/>
                    <a:pt x="564648" y="800235"/>
                  </a:cubicBezTo>
                  <a:cubicBezTo>
                    <a:pt x="597474" y="833758"/>
                    <a:pt x="636008" y="856582"/>
                    <a:pt x="678110" y="869420"/>
                  </a:cubicBezTo>
                  <a:cubicBezTo>
                    <a:pt x="729488" y="885825"/>
                    <a:pt x="785862" y="885825"/>
                    <a:pt x="837955" y="869420"/>
                  </a:cubicBezTo>
                  <a:cubicBezTo>
                    <a:pt x="867212" y="860861"/>
                    <a:pt x="895756" y="845883"/>
                    <a:pt x="921445" y="826625"/>
                  </a:cubicBezTo>
                  <a:cubicBezTo>
                    <a:pt x="930008" y="820919"/>
                    <a:pt x="937144" y="814500"/>
                    <a:pt x="944280" y="807367"/>
                  </a:cubicBezTo>
                  <a:cubicBezTo>
                    <a:pt x="952130" y="799521"/>
                    <a:pt x="959979" y="791676"/>
                    <a:pt x="967115" y="783117"/>
                  </a:cubicBezTo>
                  <a:cubicBezTo>
                    <a:pt x="1047751" y="682548"/>
                    <a:pt x="1046324" y="537044"/>
                    <a:pt x="959979" y="437902"/>
                  </a:cubicBezTo>
                  <a:cubicBezTo>
                    <a:pt x="957125" y="435048"/>
                    <a:pt x="954270" y="431482"/>
                    <a:pt x="951416" y="427916"/>
                  </a:cubicBezTo>
                  <a:cubicBezTo>
                    <a:pt x="947135" y="423636"/>
                    <a:pt x="942853" y="419357"/>
                    <a:pt x="937858" y="415791"/>
                  </a:cubicBezTo>
                  <a:cubicBezTo>
                    <a:pt x="930008" y="408658"/>
                    <a:pt x="921445" y="401526"/>
                    <a:pt x="912882" y="395106"/>
                  </a:cubicBezTo>
                  <a:cubicBezTo>
                    <a:pt x="871137" y="365506"/>
                    <a:pt x="822256" y="349280"/>
                    <a:pt x="772661" y="346605"/>
                  </a:cubicBezTo>
                  <a:close/>
                  <a:moveTo>
                    <a:pt x="785477" y="308032"/>
                  </a:moveTo>
                  <a:cubicBezTo>
                    <a:pt x="842147" y="313027"/>
                    <a:pt x="897744" y="333721"/>
                    <a:pt x="945296" y="370115"/>
                  </a:cubicBezTo>
                  <a:cubicBezTo>
                    <a:pt x="953162" y="376537"/>
                    <a:pt x="961743" y="382959"/>
                    <a:pt x="969609" y="390809"/>
                  </a:cubicBezTo>
                  <a:cubicBezTo>
                    <a:pt x="973184" y="394377"/>
                    <a:pt x="976759" y="397231"/>
                    <a:pt x="980335" y="400799"/>
                  </a:cubicBezTo>
                  <a:cubicBezTo>
                    <a:pt x="983910" y="405081"/>
                    <a:pt x="987486" y="409363"/>
                    <a:pt x="991061" y="413644"/>
                  </a:cubicBezTo>
                  <a:cubicBezTo>
                    <a:pt x="1084021" y="521398"/>
                    <a:pt x="1089026" y="678390"/>
                    <a:pt x="1008223" y="791852"/>
                  </a:cubicBezTo>
                  <a:cubicBezTo>
                    <a:pt x="1080445" y="866780"/>
                    <a:pt x="1080445" y="866780"/>
                    <a:pt x="1080445" y="866780"/>
                  </a:cubicBezTo>
                  <a:cubicBezTo>
                    <a:pt x="1081160" y="867493"/>
                    <a:pt x="1081160" y="868207"/>
                    <a:pt x="1081875" y="868921"/>
                  </a:cubicBezTo>
                  <a:cubicBezTo>
                    <a:pt x="1083306" y="871775"/>
                    <a:pt x="1083306" y="874629"/>
                    <a:pt x="1081875" y="876770"/>
                  </a:cubicBezTo>
                  <a:cubicBezTo>
                    <a:pt x="1081875" y="876770"/>
                    <a:pt x="1081875" y="876770"/>
                    <a:pt x="1056848" y="900319"/>
                  </a:cubicBezTo>
                  <a:cubicBezTo>
                    <a:pt x="1056848" y="900319"/>
                    <a:pt x="1056848" y="900319"/>
                    <a:pt x="1055418" y="901746"/>
                  </a:cubicBezTo>
                  <a:cubicBezTo>
                    <a:pt x="1039686" y="917445"/>
                    <a:pt x="1029675" y="926722"/>
                    <a:pt x="1023954" y="931717"/>
                  </a:cubicBezTo>
                  <a:cubicBezTo>
                    <a:pt x="1014658" y="940994"/>
                    <a:pt x="1014658" y="940994"/>
                    <a:pt x="1014658" y="940994"/>
                  </a:cubicBezTo>
                  <a:cubicBezTo>
                    <a:pt x="1011798" y="944562"/>
                    <a:pt x="1006078" y="944562"/>
                    <a:pt x="1003217" y="940994"/>
                  </a:cubicBezTo>
                  <a:cubicBezTo>
                    <a:pt x="999642" y="938140"/>
                    <a:pt x="996782" y="934572"/>
                    <a:pt x="993921" y="931717"/>
                  </a:cubicBezTo>
                  <a:cubicBezTo>
                    <a:pt x="981765" y="919586"/>
                    <a:pt x="971754" y="908882"/>
                    <a:pt x="963888" y="900319"/>
                  </a:cubicBezTo>
                  <a:cubicBezTo>
                    <a:pt x="944581" y="881052"/>
                    <a:pt x="936715" y="872489"/>
                    <a:pt x="933140" y="868921"/>
                  </a:cubicBezTo>
                  <a:cubicBezTo>
                    <a:pt x="930995" y="866780"/>
                    <a:pt x="930995" y="866780"/>
                    <a:pt x="930995" y="866780"/>
                  </a:cubicBezTo>
                  <a:cubicBezTo>
                    <a:pt x="929565" y="867493"/>
                    <a:pt x="928134" y="868207"/>
                    <a:pt x="926704" y="868921"/>
                  </a:cubicBezTo>
                  <a:cubicBezTo>
                    <a:pt x="906682" y="882479"/>
                    <a:pt x="885945" y="892469"/>
                    <a:pt x="864493" y="900319"/>
                  </a:cubicBezTo>
                  <a:cubicBezTo>
                    <a:pt x="795846" y="926009"/>
                    <a:pt x="720048" y="926009"/>
                    <a:pt x="651400" y="900319"/>
                  </a:cubicBezTo>
                  <a:cubicBezTo>
                    <a:pt x="629948" y="892469"/>
                    <a:pt x="609211" y="882479"/>
                    <a:pt x="589189" y="868921"/>
                  </a:cubicBezTo>
                  <a:cubicBezTo>
                    <a:pt x="570597" y="856789"/>
                    <a:pt x="553435" y="842517"/>
                    <a:pt x="536988" y="826105"/>
                  </a:cubicBezTo>
                  <a:cubicBezTo>
                    <a:pt x="466196" y="751177"/>
                    <a:pt x="439738" y="649846"/>
                    <a:pt x="457615" y="554937"/>
                  </a:cubicBezTo>
                  <a:cubicBezTo>
                    <a:pt x="462621" y="529961"/>
                    <a:pt x="470486" y="505699"/>
                    <a:pt x="481213" y="482863"/>
                  </a:cubicBezTo>
                  <a:cubicBezTo>
                    <a:pt x="493369" y="456460"/>
                    <a:pt x="509816" y="430771"/>
                    <a:pt x="530553" y="408649"/>
                  </a:cubicBezTo>
                  <a:cubicBezTo>
                    <a:pt x="535558" y="402940"/>
                    <a:pt x="540564" y="397945"/>
                    <a:pt x="545569" y="392236"/>
                  </a:cubicBezTo>
                  <a:cubicBezTo>
                    <a:pt x="560586" y="378678"/>
                    <a:pt x="575602" y="366547"/>
                    <a:pt x="592049" y="355843"/>
                  </a:cubicBezTo>
                  <a:cubicBezTo>
                    <a:pt x="600630" y="350134"/>
                    <a:pt x="609926" y="345139"/>
                    <a:pt x="619222" y="340143"/>
                  </a:cubicBezTo>
                  <a:cubicBezTo>
                    <a:pt x="671065" y="313740"/>
                    <a:pt x="728807" y="303036"/>
                    <a:pt x="785477" y="308032"/>
                  </a:cubicBezTo>
                  <a:close/>
                  <a:moveTo>
                    <a:pt x="555676" y="304800"/>
                  </a:moveTo>
                  <a:cubicBezTo>
                    <a:pt x="570540" y="304800"/>
                    <a:pt x="583988" y="309099"/>
                    <a:pt x="595313" y="316982"/>
                  </a:cubicBezTo>
                  <a:cubicBezTo>
                    <a:pt x="584696" y="323431"/>
                    <a:pt x="574079" y="329880"/>
                    <a:pt x="563462" y="337046"/>
                  </a:cubicBezTo>
                  <a:cubicBezTo>
                    <a:pt x="561338" y="336330"/>
                    <a:pt x="558507" y="336330"/>
                    <a:pt x="555676" y="336330"/>
                  </a:cubicBezTo>
                  <a:cubicBezTo>
                    <a:pt x="533026" y="336330"/>
                    <a:pt x="515331" y="354961"/>
                    <a:pt x="515331" y="377175"/>
                  </a:cubicBezTo>
                  <a:cubicBezTo>
                    <a:pt x="515331" y="377891"/>
                    <a:pt x="515331" y="378608"/>
                    <a:pt x="515331" y="379325"/>
                  </a:cubicBezTo>
                  <a:cubicBezTo>
                    <a:pt x="506130" y="388640"/>
                    <a:pt x="498344" y="397956"/>
                    <a:pt x="490558" y="407988"/>
                  </a:cubicBezTo>
                  <a:cubicBezTo>
                    <a:pt x="486311" y="398672"/>
                    <a:pt x="484188" y="388640"/>
                    <a:pt x="484188" y="377175"/>
                  </a:cubicBezTo>
                  <a:cubicBezTo>
                    <a:pt x="484188" y="337046"/>
                    <a:pt x="516039" y="304800"/>
                    <a:pt x="555676" y="304800"/>
                  </a:cubicBezTo>
                  <a:close/>
                  <a:moveTo>
                    <a:pt x="1089384" y="233362"/>
                  </a:moveTo>
                  <a:cubicBezTo>
                    <a:pt x="1066414" y="233362"/>
                    <a:pt x="1047750" y="252026"/>
                    <a:pt x="1047750" y="274996"/>
                  </a:cubicBezTo>
                  <a:cubicBezTo>
                    <a:pt x="1047750" y="278585"/>
                    <a:pt x="1048468" y="282892"/>
                    <a:pt x="1049186" y="286481"/>
                  </a:cubicBezTo>
                  <a:cubicBezTo>
                    <a:pt x="1052775" y="296531"/>
                    <a:pt x="1059953" y="305863"/>
                    <a:pt x="1069285" y="310887"/>
                  </a:cubicBezTo>
                  <a:cubicBezTo>
                    <a:pt x="1075028" y="314476"/>
                    <a:pt x="1082206" y="315912"/>
                    <a:pt x="1089384" y="315912"/>
                  </a:cubicBezTo>
                  <a:cubicBezTo>
                    <a:pt x="1111637" y="315912"/>
                    <a:pt x="1130300" y="297249"/>
                    <a:pt x="1130300" y="274996"/>
                  </a:cubicBezTo>
                  <a:cubicBezTo>
                    <a:pt x="1130300" y="271407"/>
                    <a:pt x="1129582" y="267100"/>
                    <a:pt x="1128865" y="264229"/>
                  </a:cubicBezTo>
                  <a:cubicBezTo>
                    <a:pt x="1125993" y="253461"/>
                    <a:pt x="1118815" y="244130"/>
                    <a:pt x="1109483" y="239105"/>
                  </a:cubicBezTo>
                  <a:cubicBezTo>
                    <a:pt x="1103741" y="235516"/>
                    <a:pt x="1096562" y="233362"/>
                    <a:pt x="1089384" y="233362"/>
                  </a:cubicBezTo>
                  <a:close/>
                  <a:moveTo>
                    <a:pt x="15705" y="0"/>
                  </a:moveTo>
                  <a:cubicBezTo>
                    <a:pt x="15705" y="0"/>
                    <a:pt x="15705" y="0"/>
                    <a:pt x="1289220" y="0"/>
                  </a:cubicBezTo>
                  <a:cubicBezTo>
                    <a:pt x="1297787" y="0"/>
                    <a:pt x="1304925" y="6422"/>
                    <a:pt x="1304925" y="15698"/>
                  </a:cubicBezTo>
                  <a:cubicBezTo>
                    <a:pt x="1304925" y="15698"/>
                    <a:pt x="1304925" y="15698"/>
                    <a:pt x="1304925" y="916166"/>
                  </a:cubicBezTo>
                  <a:cubicBezTo>
                    <a:pt x="1304925" y="925441"/>
                    <a:pt x="1297787" y="931863"/>
                    <a:pt x="1289220" y="931863"/>
                  </a:cubicBezTo>
                  <a:cubicBezTo>
                    <a:pt x="1289220" y="931863"/>
                    <a:pt x="1289220" y="931863"/>
                    <a:pt x="1219977" y="931863"/>
                  </a:cubicBezTo>
                  <a:cubicBezTo>
                    <a:pt x="1219977" y="931863"/>
                    <a:pt x="1219977" y="931863"/>
                    <a:pt x="1189995" y="900468"/>
                  </a:cubicBezTo>
                  <a:cubicBezTo>
                    <a:pt x="1273516" y="900468"/>
                    <a:pt x="1273516" y="900468"/>
                    <a:pt x="1273516" y="900468"/>
                  </a:cubicBezTo>
                  <a:cubicBezTo>
                    <a:pt x="1273516" y="480916"/>
                    <a:pt x="1273516" y="264004"/>
                    <a:pt x="1273516" y="151267"/>
                  </a:cubicBezTo>
                  <a:cubicBezTo>
                    <a:pt x="1273516" y="151267"/>
                    <a:pt x="1273516" y="151267"/>
                    <a:pt x="1242106" y="175527"/>
                  </a:cubicBezTo>
                  <a:cubicBezTo>
                    <a:pt x="1242106" y="175527"/>
                    <a:pt x="1242106" y="175527"/>
                    <a:pt x="1154302" y="243312"/>
                  </a:cubicBezTo>
                  <a:cubicBezTo>
                    <a:pt x="1159299" y="253301"/>
                    <a:pt x="1161441" y="263291"/>
                    <a:pt x="1161441" y="274707"/>
                  </a:cubicBezTo>
                  <a:cubicBezTo>
                    <a:pt x="1161441" y="314664"/>
                    <a:pt x="1129317" y="346773"/>
                    <a:pt x="1089341" y="346773"/>
                  </a:cubicBezTo>
                  <a:cubicBezTo>
                    <a:pt x="1071495" y="346773"/>
                    <a:pt x="1055790" y="341065"/>
                    <a:pt x="1043655" y="331076"/>
                  </a:cubicBezTo>
                  <a:cubicBezTo>
                    <a:pt x="1043655" y="331076"/>
                    <a:pt x="1043655" y="331076"/>
                    <a:pt x="993685" y="371033"/>
                  </a:cubicBezTo>
                  <a:cubicBezTo>
                    <a:pt x="985833" y="363898"/>
                    <a:pt x="977980" y="356762"/>
                    <a:pt x="969414" y="349627"/>
                  </a:cubicBezTo>
                  <a:cubicBezTo>
                    <a:pt x="969414" y="349627"/>
                    <a:pt x="969414" y="349627"/>
                    <a:pt x="1024381" y="306102"/>
                  </a:cubicBezTo>
                  <a:cubicBezTo>
                    <a:pt x="1019384" y="296826"/>
                    <a:pt x="1016528" y="286123"/>
                    <a:pt x="1016528" y="274707"/>
                  </a:cubicBezTo>
                  <a:cubicBezTo>
                    <a:pt x="1016528" y="234750"/>
                    <a:pt x="1049365" y="201928"/>
                    <a:pt x="1089341" y="201928"/>
                  </a:cubicBezTo>
                  <a:cubicBezTo>
                    <a:pt x="1106474" y="201928"/>
                    <a:pt x="1122892" y="208349"/>
                    <a:pt x="1135028" y="219052"/>
                  </a:cubicBezTo>
                  <a:cubicBezTo>
                    <a:pt x="1135028" y="219052"/>
                    <a:pt x="1135028" y="219052"/>
                    <a:pt x="1242106" y="136283"/>
                  </a:cubicBezTo>
                  <a:cubicBezTo>
                    <a:pt x="1242106" y="136283"/>
                    <a:pt x="1242106" y="136283"/>
                    <a:pt x="1269946" y="114878"/>
                  </a:cubicBezTo>
                  <a:cubicBezTo>
                    <a:pt x="1270660" y="114164"/>
                    <a:pt x="1272088" y="113451"/>
                    <a:pt x="1273516" y="112737"/>
                  </a:cubicBezTo>
                  <a:cubicBezTo>
                    <a:pt x="1273516" y="31395"/>
                    <a:pt x="1273516" y="31395"/>
                    <a:pt x="1273516" y="31395"/>
                  </a:cubicBezTo>
                  <a:cubicBezTo>
                    <a:pt x="31410" y="31395"/>
                    <a:pt x="31410" y="31395"/>
                    <a:pt x="31410" y="31395"/>
                  </a:cubicBezTo>
                  <a:cubicBezTo>
                    <a:pt x="31410" y="406709"/>
                    <a:pt x="31410" y="620766"/>
                    <a:pt x="31410" y="741352"/>
                  </a:cubicBezTo>
                  <a:cubicBezTo>
                    <a:pt x="31410" y="741352"/>
                    <a:pt x="31410" y="741352"/>
                    <a:pt x="62819" y="726368"/>
                  </a:cubicBezTo>
                  <a:cubicBezTo>
                    <a:pt x="62819" y="726368"/>
                    <a:pt x="62819" y="726368"/>
                    <a:pt x="276976" y="623621"/>
                  </a:cubicBezTo>
                  <a:cubicBezTo>
                    <a:pt x="275548" y="617912"/>
                    <a:pt x="274834" y="612918"/>
                    <a:pt x="274834" y="607210"/>
                  </a:cubicBezTo>
                  <a:cubicBezTo>
                    <a:pt x="274834" y="567252"/>
                    <a:pt x="306957" y="534430"/>
                    <a:pt x="346933" y="534430"/>
                  </a:cubicBezTo>
                  <a:cubicBezTo>
                    <a:pt x="360496" y="534430"/>
                    <a:pt x="372632" y="537998"/>
                    <a:pt x="383340" y="543706"/>
                  </a:cubicBezTo>
                  <a:cubicBezTo>
                    <a:pt x="383340" y="543706"/>
                    <a:pt x="383340" y="543706"/>
                    <a:pt x="454725" y="465218"/>
                  </a:cubicBezTo>
                  <a:cubicBezTo>
                    <a:pt x="443304" y="489478"/>
                    <a:pt x="434737" y="514451"/>
                    <a:pt x="429026" y="540138"/>
                  </a:cubicBezTo>
                  <a:cubicBezTo>
                    <a:pt x="429026" y="540138"/>
                    <a:pt x="429026" y="540138"/>
                    <a:pt x="406183" y="565112"/>
                  </a:cubicBezTo>
                  <a:cubicBezTo>
                    <a:pt x="414749" y="577241"/>
                    <a:pt x="419746" y="591512"/>
                    <a:pt x="419746" y="607210"/>
                  </a:cubicBezTo>
                  <a:cubicBezTo>
                    <a:pt x="419746" y="647167"/>
                    <a:pt x="386909" y="679275"/>
                    <a:pt x="346933" y="679275"/>
                  </a:cubicBezTo>
                  <a:cubicBezTo>
                    <a:pt x="324090" y="679275"/>
                    <a:pt x="303388" y="668573"/>
                    <a:pt x="290539" y="651448"/>
                  </a:cubicBezTo>
                  <a:cubicBezTo>
                    <a:pt x="290539" y="651448"/>
                    <a:pt x="290539" y="651448"/>
                    <a:pt x="62819" y="761331"/>
                  </a:cubicBezTo>
                  <a:cubicBezTo>
                    <a:pt x="62819" y="761331"/>
                    <a:pt x="62819" y="761331"/>
                    <a:pt x="31410" y="776315"/>
                  </a:cubicBezTo>
                  <a:cubicBezTo>
                    <a:pt x="31410" y="900468"/>
                    <a:pt x="31410" y="900468"/>
                    <a:pt x="31410" y="900468"/>
                  </a:cubicBezTo>
                  <a:cubicBezTo>
                    <a:pt x="250563" y="900468"/>
                    <a:pt x="431168" y="900468"/>
                    <a:pt x="579650" y="900468"/>
                  </a:cubicBezTo>
                  <a:cubicBezTo>
                    <a:pt x="600351" y="913312"/>
                    <a:pt x="622481" y="924014"/>
                    <a:pt x="645324" y="931863"/>
                  </a:cubicBezTo>
                  <a:cubicBezTo>
                    <a:pt x="645324" y="931863"/>
                    <a:pt x="645324" y="931863"/>
                    <a:pt x="15705" y="931863"/>
                  </a:cubicBezTo>
                  <a:cubicBezTo>
                    <a:pt x="7139" y="931863"/>
                    <a:pt x="0" y="925441"/>
                    <a:pt x="0" y="916166"/>
                  </a:cubicBezTo>
                  <a:cubicBezTo>
                    <a:pt x="0" y="916166"/>
                    <a:pt x="0" y="916166"/>
                    <a:pt x="0" y="15698"/>
                  </a:cubicBezTo>
                  <a:cubicBezTo>
                    <a:pt x="0" y="6422"/>
                    <a:pt x="7139" y="0"/>
                    <a:pt x="157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7829971" y="4074046"/>
              <a:ext cx="814455" cy="373784"/>
            </a:xfrm>
            <a:custGeom>
              <a:avLst/>
              <a:gdLst>
                <a:gd name="connsiteX0" fmla="*/ 363861 w 1181100"/>
                <a:gd name="connsiteY0" fmla="*/ 458787 h 654050"/>
                <a:gd name="connsiteX1" fmla="*/ 452503 w 1181100"/>
                <a:gd name="connsiteY1" fmla="*/ 632593 h 654050"/>
                <a:gd name="connsiteX2" fmla="*/ 474663 w 1181100"/>
                <a:gd name="connsiteY2" fmla="*/ 654050 h 654050"/>
                <a:gd name="connsiteX3" fmla="*/ 0 w 1181100"/>
                <a:gd name="connsiteY3" fmla="*/ 654050 h 654050"/>
                <a:gd name="connsiteX4" fmla="*/ 0 w 1181100"/>
                <a:gd name="connsiteY4" fmla="*/ 581095 h 654050"/>
                <a:gd name="connsiteX5" fmla="*/ 221605 w 1181100"/>
                <a:gd name="connsiteY5" fmla="*/ 473807 h 654050"/>
                <a:gd name="connsiteX6" fmla="*/ 284512 w 1181100"/>
                <a:gd name="connsiteY6" fmla="*/ 495265 h 654050"/>
                <a:gd name="connsiteX7" fmla="*/ 363861 w 1181100"/>
                <a:gd name="connsiteY7" fmla="*/ 458787 h 654050"/>
                <a:gd name="connsiteX8" fmla="*/ 881470 w 1181100"/>
                <a:gd name="connsiteY8" fmla="*/ 250825 h 654050"/>
                <a:gd name="connsiteX9" fmla="*/ 879327 w 1181100"/>
                <a:gd name="connsiteY9" fmla="*/ 543393 h 654050"/>
                <a:gd name="connsiteX10" fmla="*/ 859328 w 1181100"/>
                <a:gd name="connsiteY10" fmla="*/ 564748 h 654050"/>
                <a:gd name="connsiteX11" fmla="*/ 840757 w 1181100"/>
                <a:gd name="connsiteY11" fmla="*/ 581121 h 654050"/>
                <a:gd name="connsiteX12" fmla="*/ 840043 w 1181100"/>
                <a:gd name="connsiteY12" fmla="*/ 581833 h 654050"/>
                <a:gd name="connsiteX13" fmla="*/ 696476 w 1181100"/>
                <a:gd name="connsiteY13" fmla="*/ 630238 h 654050"/>
                <a:gd name="connsiteX14" fmla="*/ 526481 w 1181100"/>
                <a:gd name="connsiteY14" fmla="*/ 558342 h 654050"/>
                <a:gd name="connsiteX15" fmla="*/ 489339 w 1181100"/>
                <a:gd name="connsiteY15" fmla="*/ 284993 h 654050"/>
                <a:gd name="connsiteX16" fmla="*/ 586479 w 1181100"/>
                <a:gd name="connsiteY16" fmla="*/ 331975 h 654050"/>
                <a:gd name="connsiteX17" fmla="*/ 699333 w 1181100"/>
                <a:gd name="connsiteY17" fmla="*/ 441599 h 654050"/>
                <a:gd name="connsiteX18" fmla="*/ 805044 w 1181100"/>
                <a:gd name="connsiteY18" fmla="*/ 368279 h 654050"/>
                <a:gd name="connsiteX19" fmla="*/ 812901 w 1181100"/>
                <a:gd name="connsiteY19" fmla="*/ 328416 h 654050"/>
                <a:gd name="connsiteX20" fmla="*/ 811472 w 1181100"/>
                <a:gd name="connsiteY20" fmla="*/ 314179 h 654050"/>
                <a:gd name="connsiteX21" fmla="*/ 810758 w 1181100"/>
                <a:gd name="connsiteY21" fmla="*/ 307061 h 654050"/>
                <a:gd name="connsiteX22" fmla="*/ 815758 w 1181100"/>
                <a:gd name="connsiteY22" fmla="*/ 302790 h 654050"/>
                <a:gd name="connsiteX23" fmla="*/ 850043 w 1181100"/>
                <a:gd name="connsiteY23" fmla="*/ 275739 h 654050"/>
                <a:gd name="connsiteX24" fmla="*/ 881470 w 1181100"/>
                <a:gd name="connsiteY24" fmla="*/ 250825 h 654050"/>
                <a:gd name="connsiteX25" fmla="*/ 1181100 w 1181100"/>
                <a:gd name="connsiteY25" fmla="*/ 0 h 654050"/>
                <a:gd name="connsiteX26" fmla="*/ 1181100 w 1181100"/>
                <a:gd name="connsiteY26" fmla="*/ 654050 h 654050"/>
                <a:gd name="connsiteX27" fmla="*/ 1099004 w 1181100"/>
                <a:gd name="connsiteY27" fmla="*/ 654050 h 654050"/>
                <a:gd name="connsiteX28" fmla="*/ 1096863 w 1181100"/>
                <a:gd name="connsiteY28" fmla="*/ 651908 h 654050"/>
                <a:gd name="connsiteX29" fmla="*/ 1069022 w 1181100"/>
                <a:gd name="connsiteY29" fmla="*/ 638342 h 654050"/>
                <a:gd name="connsiteX30" fmla="*/ 1066166 w 1181100"/>
                <a:gd name="connsiteY30" fmla="*/ 637628 h 654050"/>
                <a:gd name="connsiteX31" fmla="*/ 1064024 w 1181100"/>
                <a:gd name="connsiteY31" fmla="*/ 637628 h 654050"/>
                <a:gd name="connsiteX32" fmla="*/ 1048319 w 1181100"/>
                <a:gd name="connsiteY32" fmla="*/ 640484 h 654050"/>
                <a:gd name="connsiteX33" fmla="*/ 1040466 w 1181100"/>
                <a:gd name="connsiteY33" fmla="*/ 629773 h 654050"/>
                <a:gd name="connsiteX34" fmla="*/ 986212 w 1181100"/>
                <a:gd name="connsiteY34" fmla="*/ 573365 h 654050"/>
                <a:gd name="connsiteX35" fmla="*/ 954087 w 1181100"/>
                <a:gd name="connsiteY35" fmla="*/ 178507 h 654050"/>
                <a:gd name="connsiteX36" fmla="*/ 985498 w 1181100"/>
                <a:gd name="connsiteY36" fmla="*/ 153516 h 654050"/>
                <a:gd name="connsiteX37" fmla="*/ 1028330 w 1181100"/>
                <a:gd name="connsiteY37" fmla="*/ 162798 h 654050"/>
                <a:gd name="connsiteX38" fmla="*/ 1131843 w 1181100"/>
                <a:gd name="connsiteY38" fmla="*/ 59264 h 654050"/>
                <a:gd name="connsiteX39" fmla="*/ 1129701 w 1181100"/>
                <a:gd name="connsiteY39" fmla="*/ 39985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181100" h="654050">
                  <a:moveTo>
                    <a:pt x="363861" y="458787"/>
                  </a:moveTo>
                  <a:cubicBezTo>
                    <a:pt x="375299" y="521729"/>
                    <a:pt x="404608" y="582525"/>
                    <a:pt x="452503" y="632593"/>
                  </a:cubicBezTo>
                  <a:cubicBezTo>
                    <a:pt x="459651" y="640460"/>
                    <a:pt x="466800" y="647613"/>
                    <a:pt x="474663" y="654050"/>
                  </a:cubicBezTo>
                  <a:cubicBezTo>
                    <a:pt x="474663" y="654050"/>
                    <a:pt x="474663" y="654050"/>
                    <a:pt x="0" y="654050"/>
                  </a:cubicBezTo>
                  <a:cubicBezTo>
                    <a:pt x="0" y="654050"/>
                    <a:pt x="0" y="654050"/>
                    <a:pt x="0" y="581095"/>
                  </a:cubicBezTo>
                  <a:cubicBezTo>
                    <a:pt x="0" y="581095"/>
                    <a:pt x="0" y="581095"/>
                    <a:pt x="221605" y="473807"/>
                  </a:cubicBezTo>
                  <a:cubicBezTo>
                    <a:pt x="239476" y="487397"/>
                    <a:pt x="261637" y="495265"/>
                    <a:pt x="284512" y="495265"/>
                  </a:cubicBezTo>
                  <a:cubicBezTo>
                    <a:pt x="316681" y="495265"/>
                    <a:pt x="344560" y="480960"/>
                    <a:pt x="363861" y="458787"/>
                  </a:cubicBezTo>
                  <a:close/>
                  <a:moveTo>
                    <a:pt x="881470" y="250825"/>
                  </a:moveTo>
                  <a:cubicBezTo>
                    <a:pt x="948611" y="336246"/>
                    <a:pt x="949325" y="457972"/>
                    <a:pt x="879327" y="543393"/>
                  </a:cubicBezTo>
                  <a:cubicBezTo>
                    <a:pt x="873613" y="551223"/>
                    <a:pt x="866471" y="558342"/>
                    <a:pt x="859328" y="564748"/>
                  </a:cubicBezTo>
                  <a:cubicBezTo>
                    <a:pt x="852185" y="571867"/>
                    <a:pt x="846471" y="577562"/>
                    <a:pt x="840757" y="581121"/>
                  </a:cubicBezTo>
                  <a:cubicBezTo>
                    <a:pt x="840757" y="581121"/>
                    <a:pt x="840757" y="581121"/>
                    <a:pt x="840043" y="581833"/>
                  </a:cubicBezTo>
                  <a:cubicBezTo>
                    <a:pt x="799330" y="613154"/>
                    <a:pt x="747903" y="630238"/>
                    <a:pt x="696476" y="630238"/>
                  </a:cubicBezTo>
                  <a:cubicBezTo>
                    <a:pt x="631478" y="630238"/>
                    <a:pt x="571480" y="604612"/>
                    <a:pt x="526481" y="558342"/>
                  </a:cubicBezTo>
                  <a:cubicBezTo>
                    <a:pt x="455055" y="483598"/>
                    <a:pt x="442912" y="372550"/>
                    <a:pt x="489339" y="284993"/>
                  </a:cubicBezTo>
                  <a:cubicBezTo>
                    <a:pt x="489339" y="284993"/>
                    <a:pt x="489339" y="284993"/>
                    <a:pt x="586479" y="331975"/>
                  </a:cubicBezTo>
                  <a:cubicBezTo>
                    <a:pt x="588622" y="392482"/>
                    <a:pt x="638621" y="441599"/>
                    <a:pt x="699333" y="441599"/>
                  </a:cubicBezTo>
                  <a:cubicBezTo>
                    <a:pt x="747903" y="441599"/>
                    <a:pt x="789330" y="410990"/>
                    <a:pt x="805044" y="368279"/>
                  </a:cubicBezTo>
                  <a:cubicBezTo>
                    <a:pt x="810044" y="356178"/>
                    <a:pt x="812901" y="342653"/>
                    <a:pt x="812901" y="328416"/>
                  </a:cubicBezTo>
                  <a:cubicBezTo>
                    <a:pt x="812901" y="323433"/>
                    <a:pt x="812187" y="319162"/>
                    <a:pt x="811472" y="314179"/>
                  </a:cubicBezTo>
                  <a:cubicBezTo>
                    <a:pt x="811472" y="312043"/>
                    <a:pt x="811472" y="309196"/>
                    <a:pt x="810758" y="307061"/>
                  </a:cubicBezTo>
                  <a:cubicBezTo>
                    <a:pt x="810758" y="307061"/>
                    <a:pt x="810758" y="307061"/>
                    <a:pt x="815758" y="302790"/>
                  </a:cubicBezTo>
                  <a:cubicBezTo>
                    <a:pt x="820758" y="299230"/>
                    <a:pt x="830757" y="291400"/>
                    <a:pt x="850043" y="275739"/>
                  </a:cubicBezTo>
                  <a:cubicBezTo>
                    <a:pt x="857899" y="269333"/>
                    <a:pt x="868613" y="260791"/>
                    <a:pt x="881470" y="250825"/>
                  </a:cubicBezTo>
                  <a:close/>
                  <a:moveTo>
                    <a:pt x="1181100" y="0"/>
                  </a:moveTo>
                  <a:cubicBezTo>
                    <a:pt x="1181100" y="0"/>
                    <a:pt x="1181100" y="0"/>
                    <a:pt x="1181100" y="654050"/>
                  </a:cubicBezTo>
                  <a:cubicBezTo>
                    <a:pt x="1181100" y="654050"/>
                    <a:pt x="1181100" y="654050"/>
                    <a:pt x="1099004" y="654050"/>
                  </a:cubicBezTo>
                  <a:cubicBezTo>
                    <a:pt x="1099004" y="654050"/>
                    <a:pt x="1099004" y="654050"/>
                    <a:pt x="1096863" y="651908"/>
                  </a:cubicBezTo>
                  <a:cubicBezTo>
                    <a:pt x="1089724" y="644768"/>
                    <a:pt x="1079730" y="639770"/>
                    <a:pt x="1069022" y="638342"/>
                  </a:cubicBezTo>
                  <a:cubicBezTo>
                    <a:pt x="1069022" y="638342"/>
                    <a:pt x="1069022" y="638342"/>
                    <a:pt x="1066166" y="637628"/>
                  </a:cubicBezTo>
                  <a:cubicBezTo>
                    <a:pt x="1066166" y="637628"/>
                    <a:pt x="1066166" y="637628"/>
                    <a:pt x="1064024" y="637628"/>
                  </a:cubicBezTo>
                  <a:cubicBezTo>
                    <a:pt x="1058313" y="637628"/>
                    <a:pt x="1053316" y="638342"/>
                    <a:pt x="1048319" y="640484"/>
                  </a:cubicBezTo>
                  <a:cubicBezTo>
                    <a:pt x="1046177" y="636913"/>
                    <a:pt x="1043322" y="633343"/>
                    <a:pt x="1040466" y="629773"/>
                  </a:cubicBezTo>
                  <a:cubicBezTo>
                    <a:pt x="1040466" y="629773"/>
                    <a:pt x="1040466" y="629773"/>
                    <a:pt x="986212" y="573365"/>
                  </a:cubicBezTo>
                  <a:cubicBezTo>
                    <a:pt x="1061169" y="448410"/>
                    <a:pt x="1048319" y="289181"/>
                    <a:pt x="954087" y="178507"/>
                  </a:cubicBezTo>
                  <a:cubicBezTo>
                    <a:pt x="954087" y="178507"/>
                    <a:pt x="954087" y="178507"/>
                    <a:pt x="985498" y="153516"/>
                  </a:cubicBezTo>
                  <a:cubicBezTo>
                    <a:pt x="998348" y="159942"/>
                    <a:pt x="1013339" y="162798"/>
                    <a:pt x="1028330" y="162798"/>
                  </a:cubicBezTo>
                  <a:cubicBezTo>
                    <a:pt x="1085441" y="162798"/>
                    <a:pt x="1131843" y="116386"/>
                    <a:pt x="1131843" y="59264"/>
                  </a:cubicBezTo>
                  <a:cubicBezTo>
                    <a:pt x="1131843" y="52838"/>
                    <a:pt x="1131129" y="45698"/>
                    <a:pt x="1129701" y="399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223682" y="3575359"/>
            <a:ext cx="589123" cy="422464"/>
            <a:chOff x="2963147" y="1314592"/>
            <a:chExt cx="1143889" cy="565122"/>
          </a:xfrm>
        </p:grpSpPr>
        <p:sp>
          <p:nvSpPr>
            <p:cNvPr id="60" name="Freeform 59"/>
            <p:cNvSpPr>
              <a:spLocks noEditPoints="1"/>
            </p:cNvSpPr>
            <p:nvPr/>
          </p:nvSpPr>
          <p:spPr bwMode="auto">
            <a:xfrm flipH="1">
              <a:off x="3092591" y="1363651"/>
              <a:ext cx="1014445" cy="483986"/>
            </a:xfrm>
            <a:custGeom>
              <a:avLst/>
              <a:gdLst>
                <a:gd name="T0" fmla="*/ 420 w 1603"/>
                <a:gd name="T1" fmla="*/ 472 h 1140"/>
                <a:gd name="T2" fmla="*/ 1400 w 1603"/>
                <a:gd name="T3" fmla="*/ 5 h 1140"/>
                <a:gd name="T4" fmla="*/ 1430 w 1603"/>
                <a:gd name="T5" fmla="*/ 15 h 1140"/>
                <a:gd name="T6" fmla="*/ 1597 w 1603"/>
                <a:gd name="T7" fmla="*/ 368 h 1140"/>
                <a:gd name="T8" fmla="*/ 1587 w 1603"/>
                <a:gd name="T9" fmla="*/ 397 h 1140"/>
                <a:gd name="T10" fmla="*/ 606 w 1603"/>
                <a:gd name="T11" fmla="*/ 864 h 1140"/>
                <a:gd name="T12" fmla="*/ 577 w 1603"/>
                <a:gd name="T13" fmla="*/ 854 h 1140"/>
                <a:gd name="T14" fmla="*/ 409 w 1603"/>
                <a:gd name="T15" fmla="*/ 501 h 1140"/>
                <a:gd name="T16" fmla="*/ 420 w 1603"/>
                <a:gd name="T17" fmla="*/ 472 h 1140"/>
                <a:gd name="T18" fmla="*/ 423 w 1603"/>
                <a:gd name="T19" fmla="*/ 855 h 1140"/>
                <a:gd name="T20" fmla="*/ 328 w 1603"/>
                <a:gd name="T21" fmla="*/ 636 h 1140"/>
                <a:gd name="T22" fmla="*/ 305 w 1603"/>
                <a:gd name="T23" fmla="*/ 620 h 1140"/>
                <a:gd name="T24" fmla="*/ 31 w 1603"/>
                <a:gd name="T25" fmla="*/ 597 h 1140"/>
                <a:gd name="T26" fmla="*/ 7 w 1603"/>
                <a:gd name="T27" fmla="*/ 609 h 1140"/>
                <a:gd name="T28" fmla="*/ 5 w 1603"/>
                <a:gd name="T29" fmla="*/ 635 h 1140"/>
                <a:gd name="T30" fmla="*/ 236 w 1603"/>
                <a:gd name="T31" fmla="*/ 1125 h 1140"/>
                <a:gd name="T32" fmla="*/ 260 w 1603"/>
                <a:gd name="T33" fmla="*/ 1140 h 1140"/>
                <a:gd name="T34" fmla="*/ 261 w 1603"/>
                <a:gd name="T35" fmla="*/ 1140 h 1140"/>
                <a:gd name="T36" fmla="*/ 284 w 1603"/>
                <a:gd name="T37" fmla="*/ 1127 h 1140"/>
                <a:gd name="T38" fmla="*/ 421 w 1603"/>
                <a:gd name="T39" fmla="*/ 878 h 1140"/>
                <a:gd name="T40" fmla="*/ 423 w 1603"/>
                <a:gd name="T41" fmla="*/ 855 h 1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3" h="1140">
                  <a:moveTo>
                    <a:pt x="420" y="472"/>
                  </a:moveTo>
                  <a:cubicBezTo>
                    <a:pt x="1400" y="5"/>
                    <a:pt x="1400" y="5"/>
                    <a:pt x="1400" y="5"/>
                  </a:cubicBezTo>
                  <a:cubicBezTo>
                    <a:pt x="1411" y="0"/>
                    <a:pt x="1424" y="5"/>
                    <a:pt x="1430" y="15"/>
                  </a:cubicBezTo>
                  <a:cubicBezTo>
                    <a:pt x="1597" y="368"/>
                    <a:pt x="1597" y="368"/>
                    <a:pt x="1597" y="368"/>
                  </a:cubicBezTo>
                  <a:cubicBezTo>
                    <a:pt x="1603" y="379"/>
                    <a:pt x="1598" y="392"/>
                    <a:pt x="1587" y="397"/>
                  </a:cubicBezTo>
                  <a:cubicBezTo>
                    <a:pt x="606" y="864"/>
                    <a:pt x="606" y="864"/>
                    <a:pt x="606" y="864"/>
                  </a:cubicBezTo>
                  <a:cubicBezTo>
                    <a:pt x="596" y="869"/>
                    <a:pt x="582" y="865"/>
                    <a:pt x="577" y="854"/>
                  </a:cubicBezTo>
                  <a:cubicBezTo>
                    <a:pt x="409" y="501"/>
                    <a:pt x="409" y="501"/>
                    <a:pt x="409" y="501"/>
                  </a:cubicBezTo>
                  <a:cubicBezTo>
                    <a:pt x="404" y="490"/>
                    <a:pt x="409" y="477"/>
                    <a:pt x="420" y="472"/>
                  </a:cubicBezTo>
                  <a:close/>
                  <a:moveTo>
                    <a:pt x="423" y="855"/>
                  </a:moveTo>
                  <a:cubicBezTo>
                    <a:pt x="328" y="636"/>
                    <a:pt x="328" y="636"/>
                    <a:pt x="328" y="636"/>
                  </a:cubicBezTo>
                  <a:cubicBezTo>
                    <a:pt x="324" y="627"/>
                    <a:pt x="315" y="621"/>
                    <a:pt x="305" y="620"/>
                  </a:cubicBezTo>
                  <a:cubicBezTo>
                    <a:pt x="31" y="597"/>
                    <a:pt x="31" y="597"/>
                    <a:pt x="31" y="597"/>
                  </a:cubicBezTo>
                  <a:cubicBezTo>
                    <a:pt x="22" y="596"/>
                    <a:pt x="12" y="601"/>
                    <a:pt x="7" y="609"/>
                  </a:cubicBezTo>
                  <a:cubicBezTo>
                    <a:pt x="1" y="616"/>
                    <a:pt x="0" y="627"/>
                    <a:pt x="5" y="635"/>
                  </a:cubicBezTo>
                  <a:cubicBezTo>
                    <a:pt x="236" y="1125"/>
                    <a:pt x="236" y="1125"/>
                    <a:pt x="236" y="1125"/>
                  </a:cubicBezTo>
                  <a:cubicBezTo>
                    <a:pt x="241" y="1134"/>
                    <a:pt x="250" y="1140"/>
                    <a:pt x="260" y="1140"/>
                  </a:cubicBezTo>
                  <a:cubicBezTo>
                    <a:pt x="260" y="1140"/>
                    <a:pt x="260" y="1140"/>
                    <a:pt x="261" y="1140"/>
                  </a:cubicBezTo>
                  <a:cubicBezTo>
                    <a:pt x="271" y="1140"/>
                    <a:pt x="280" y="1135"/>
                    <a:pt x="284" y="1127"/>
                  </a:cubicBezTo>
                  <a:cubicBezTo>
                    <a:pt x="421" y="878"/>
                    <a:pt x="421" y="878"/>
                    <a:pt x="421" y="878"/>
                  </a:cubicBezTo>
                  <a:cubicBezTo>
                    <a:pt x="425" y="871"/>
                    <a:pt x="426" y="862"/>
                    <a:pt x="423" y="85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 flipH="1">
              <a:off x="2963147" y="1314592"/>
              <a:ext cx="960979" cy="565122"/>
            </a:xfrm>
            <a:custGeom>
              <a:avLst/>
              <a:gdLst>
                <a:gd name="T0" fmla="*/ 1090 w 1520"/>
                <a:gd name="T1" fmla="*/ 857 h 1332"/>
                <a:gd name="T2" fmla="*/ 960 w 1520"/>
                <a:gd name="T3" fmla="*/ 988 h 1332"/>
                <a:gd name="T4" fmla="*/ 829 w 1520"/>
                <a:gd name="T5" fmla="*/ 857 h 1332"/>
                <a:gd name="T6" fmla="*/ 960 w 1520"/>
                <a:gd name="T7" fmla="*/ 726 h 1332"/>
                <a:gd name="T8" fmla="*/ 1090 w 1520"/>
                <a:gd name="T9" fmla="*/ 857 h 1332"/>
                <a:gd name="T10" fmla="*/ 1493 w 1520"/>
                <a:gd name="T11" fmla="*/ 1201 h 1332"/>
                <a:gd name="T12" fmla="*/ 1023 w 1520"/>
                <a:gd name="T13" fmla="*/ 1201 h 1332"/>
                <a:gd name="T14" fmla="*/ 1023 w 1520"/>
                <a:gd name="T15" fmla="*/ 1019 h 1332"/>
                <a:gd name="T16" fmla="*/ 960 w 1520"/>
                <a:gd name="T17" fmla="*/ 1032 h 1332"/>
                <a:gd name="T18" fmla="*/ 896 w 1520"/>
                <a:gd name="T19" fmla="*/ 1019 h 1332"/>
                <a:gd name="T20" fmla="*/ 896 w 1520"/>
                <a:gd name="T21" fmla="*/ 1305 h 1332"/>
                <a:gd name="T22" fmla="*/ 923 w 1520"/>
                <a:gd name="T23" fmla="*/ 1332 h 1332"/>
                <a:gd name="T24" fmla="*/ 986 w 1520"/>
                <a:gd name="T25" fmla="*/ 1332 h 1332"/>
                <a:gd name="T26" fmla="*/ 996 w 1520"/>
                <a:gd name="T27" fmla="*/ 1332 h 1332"/>
                <a:gd name="T28" fmla="*/ 1493 w 1520"/>
                <a:gd name="T29" fmla="*/ 1332 h 1332"/>
                <a:gd name="T30" fmla="*/ 1520 w 1520"/>
                <a:gd name="T31" fmla="*/ 1305 h 1332"/>
                <a:gd name="T32" fmla="*/ 1520 w 1520"/>
                <a:gd name="T33" fmla="*/ 1228 h 1332"/>
                <a:gd name="T34" fmla="*/ 1493 w 1520"/>
                <a:gd name="T35" fmla="*/ 1201 h 1332"/>
                <a:gd name="T36" fmla="*/ 1425 w 1520"/>
                <a:gd name="T37" fmla="*/ 521 h 1332"/>
                <a:gd name="T38" fmla="*/ 1185 w 1520"/>
                <a:gd name="T39" fmla="*/ 19 h 1332"/>
                <a:gd name="T40" fmla="*/ 1150 w 1520"/>
                <a:gd name="T41" fmla="*/ 6 h 1332"/>
                <a:gd name="T42" fmla="*/ 19 w 1520"/>
                <a:gd name="T43" fmla="*/ 544 h 1332"/>
                <a:gd name="T44" fmla="*/ 6 w 1520"/>
                <a:gd name="T45" fmla="*/ 580 h 1332"/>
                <a:gd name="T46" fmla="*/ 245 w 1520"/>
                <a:gd name="T47" fmla="*/ 1082 h 1332"/>
                <a:gd name="T48" fmla="*/ 281 w 1520"/>
                <a:gd name="T49" fmla="*/ 1095 h 1332"/>
                <a:gd name="T50" fmla="*/ 785 w 1520"/>
                <a:gd name="T51" fmla="*/ 855 h 1332"/>
                <a:gd name="T52" fmla="*/ 794 w 1520"/>
                <a:gd name="T53" fmla="*/ 803 h 1332"/>
                <a:gd name="T54" fmla="*/ 298 w 1520"/>
                <a:gd name="T55" fmla="*/ 1039 h 1332"/>
                <a:gd name="T56" fmla="*/ 268 w 1520"/>
                <a:gd name="T57" fmla="*/ 1028 h 1332"/>
                <a:gd name="T58" fmla="*/ 63 w 1520"/>
                <a:gd name="T59" fmla="*/ 596 h 1332"/>
                <a:gd name="T60" fmla="*/ 73 w 1520"/>
                <a:gd name="T61" fmla="*/ 567 h 1332"/>
                <a:gd name="T62" fmla="*/ 1133 w 1520"/>
                <a:gd name="T63" fmla="*/ 62 h 1332"/>
                <a:gd name="T64" fmla="*/ 1162 w 1520"/>
                <a:gd name="T65" fmla="*/ 73 h 1332"/>
                <a:gd name="T66" fmla="*/ 1368 w 1520"/>
                <a:gd name="T67" fmla="*/ 505 h 1332"/>
                <a:gd name="T68" fmla="*/ 1358 w 1520"/>
                <a:gd name="T69" fmla="*/ 534 h 1332"/>
                <a:gd name="T70" fmla="*/ 1022 w 1520"/>
                <a:gd name="T71" fmla="*/ 694 h 1332"/>
                <a:gd name="T72" fmla="*/ 1068 w 1520"/>
                <a:gd name="T73" fmla="*/ 721 h 1332"/>
                <a:gd name="T74" fmla="*/ 1412 w 1520"/>
                <a:gd name="T75" fmla="*/ 557 h 1332"/>
                <a:gd name="T76" fmla="*/ 1425 w 1520"/>
                <a:gd name="T77" fmla="*/ 521 h 1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20" h="1332">
                  <a:moveTo>
                    <a:pt x="1090" y="857"/>
                  </a:moveTo>
                  <a:cubicBezTo>
                    <a:pt x="1090" y="929"/>
                    <a:pt x="1032" y="988"/>
                    <a:pt x="960" y="988"/>
                  </a:cubicBezTo>
                  <a:cubicBezTo>
                    <a:pt x="887" y="988"/>
                    <a:pt x="829" y="929"/>
                    <a:pt x="829" y="857"/>
                  </a:cubicBezTo>
                  <a:cubicBezTo>
                    <a:pt x="829" y="785"/>
                    <a:pt x="887" y="726"/>
                    <a:pt x="960" y="726"/>
                  </a:cubicBezTo>
                  <a:cubicBezTo>
                    <a:pt x="1032" y="726"/>
                    <a:pt x="1090" y="785"/>
                    <a:pt x="1090" y="857"/>
                  </a:cubicBezTo>
                  <a:close/>
                  <a:moveTo>
                    <a:pt x="1493" y="1201"/>
                  </a:moveTo>
                  <a:cubicBezTo>
                    <a:pt x="1023" y="1201"/>
                    <a:pt x="1023" y="1201"/>
                    <a:pt x="1023" y="1201"/>
                  </a:cubicBezTo>
                  <a:cubicBezTo>
                    <a:pt x="1023" y="1019"/>
                    <a:pt x="1023" y="1019"/>
                    <a:pt x="1023" y="1019"/>
                  </a:cubicBezTo>
                  <a:cubicBezTo>
                    <a:pt x="1003" y="1027"/>
                    <a:pt x="982" y="1032"/>
                    <a:pt x="960" y="1032"/>
                  </a:cubicBezTo>
                  <a:cubicBezTo>
                    <a:pt x="937" y="1032"/>
                    <a:pt x="916" y="1027"/>
                    <a:pt x="896" y="1019"/>
                  </a:cubicBezTo>
                  <a:cubicBezTo>
                    <a:pt x="896" y="1305"/>
                    <a:pt x="896" y="1305"/>
                    <a:pt x="896" y="1305"/>
                  </a:cubicBezTo>
                  <a:cubicBezTo>
                    <a:pt x="896" y="1320"/>
                    <a:pt x="908" y="1332"/>
                    <a:pt x="923" y="1332"/>
                  </a:cubicBezTo>
                  <a:cubicBezTo>
                    <a:pt x="986" y="1332"/>
                    <a:pt x="986" y="1332"/>
                    <a:pt x="986" y="1332"/>
                  </a:cubicBezTo>
                  <a:cubicBezTo>
                    <a:pt x="996" y="1332"/>
                    <a:pt x="996" y="1332"/>
                    <a:pt x="996" y="1332"/>
                  </a:cubicBezTo>
                  <a:cubicBezTo>
                    <a:pt x="1493" y="1332"/>
                    <a:pt x="1493" y="1332"/>
                    <a:pt x="1493" y="1332"/>
                  </a:cubicBezTo>
                  <a:cubicBezTo>
                    <a:pt x="1508" y="1332"/>
                    <a:pt x="1520" y="1320"/>
                    <a:pt x="1520" y="1305"/>
                  </a:cubicBezTo>
                  <a:cubicBezTo>
                    <a:pt x="1520" y="1228"/>
                    <a:pt x="1520" y="1228"/>
                    <a:pt x="1520" y="1228"/>
                  </a:cubicBezTo>
                  <a:cubicBezTo>
                    <a:pt x="1520" y="1214"/>
                    <a:pt x="1508" y="1201"/>
                    <a:pt x="1493" y="1201"/>
                  </a:cubicBezTo>
                  <a:close/>
                  <a:moveTo>
                    <a:pt x="1425" y="521"/>
                  </a:moveTo>
                  <a:cubicBezTo>
                    <a:pt x="1185" y="19"/>
                    <a:pt x="1185" y="19"/>
                    <a:pt x="1185" y="19"/>
                  </a:cubicBezTo>
                  <a:cubicBezTo>
                    <a:pt x="1179" y="5"/>
                    <a:pt x="1163" y="0"/>
                    <a:pt x="1150" y="6"/>
                  </a:cubicBezTo>
                  <a:cubicBezTo>
                    <a:pt x="19" y="544"/>
                    <a:pt x="19" y="544"/>
                    <a:pt x="19" y="544"/>
                  </a:cubicBezTo>
                  <a:cubicBezTo>
                    <a:pt x="6" y="550"/>
                    <a:pt x="0" y="566"/>
                    <a:pt x="6" y="580"/>
                  </a:cubicBezTo>
                  <a:cubicBezTo>
                    <a:pt x="245" y="1082"/>
                    <a:pt x="245" y="1082"/>
                    <a:pt x="245" y="1082"/>
                  </a:cubicBezTo>
                  <a:cubicBezTo>
                    <a:pt x="252" y="1096"/>
                    <a:pt x="268" y="1102"/>
                    <a:pt x="281" y="1095"/>
                  </a:cubicBezTo>
                  <a:cubicBezTo>
                    <a:pt x="785" y="855"/>
                    <a:pt x="785" y="855"/>
                    <a:pt x="785" y="855"/>
                  </a:cubicBezTo>
                  <a:cubicBezTo>
                    <a:pt x="785" y="837"/>
                    <a:pt x="788" y="819"/>
                    <a:pt x="794" y="803"/>
                  </a:cubicBezTo>
                  <a:cubicBezTo>
                    <a:pt x="298" y="1039"/>
                    <a:pt x="298" y="1039"/>
                    <a:pt x="298" y="1039"/>
                  </a:cubicBezTo>
                  <a:cubicBezTo>
                    <a:pt x="287" y="1044"/>
                    <a:pt x="274" y="1039"/>
                    <a:pt x="268" y="1028"/>
                  </a:cubicBezTo>
                  <a:cubicBezTo>
                    <a:pt x="63" y="596"/>
                    <a:pt x="63" y="596"/>
                    <a:pt x="63" y="596"/>
                  </a:cubicBezTo>
                  <a:cubicBezTo>
                    <a:pt x="58" y="585"/>
                    <a:pt x="62" y="572"/>
                    <a:pt x="73" y="567"/>
                  </a:cubicBezTo>
                  <a:cubicBezTo>
                    <a:pt x="1133" y="62"/>
                    <a:pt x="1133" y="62"/>
                    <a:pt x="1133" y="62"/>
                  </a:cubicBezTo>
                  <a:cubicBezTo>
                    <a:pt x="1144" y="57"/>
                    <a:pt x="1157" y="62"/>
                    <a:pt x="1162" y="73"/>
                  </a:cubicBezTo>
                  <a:cubicBezTo>
                    <a:pt x="1368" y="505"/>
                    <a:pt x="1368" y="505"/>
                    <a:pt x="1368" y="505"/>
                  </a:cubicBezTo>
                  <a:cubicBezTo>
                    <a:pt x="1373" y="516"/>
                    <a:pt x="1369" y="529"/>
                    <a:pt x="1358" y="534"/>
                  </a:cubicBezTo>
                  <a:cubicBezTo>
                    <a:pt x="1022" y="694"/>
                    <a:pt x="1022" y="694"/>
                    <a:pt x="1022" y="694"/>
                  </a:cubicBezTo>
                  <a:cubicBezTo>
                    <a:pt x="1039" y="700"/>
                    <a:pt x="1055" y="710"/>
                    <a:pt x="1068" y="721"/>
                  </a:cubicBezTo>
                  <a:cubicBezTo>
                    <a:pt x="1412" y="557"/>
                    <a:pt x="1412" y="557"/>
                    <a:pt x="1412" y="557"/>
                  </a:cubicBezTo>
                  <a:cubicBezTo>
                    <a:pt x="1425" y="551"/>
                    <a:pt x="1431" y="535"/>
                    <a:pt x="1425" y="5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04498" y="1790652"/>
            <a:ext cx="736666" cy="305568"/>
            <a:chOff x="4794135" y="1175357"/>
            <a:chExt cx="1238161" cy="513587"/>
          </a:xfrm>
          <a:solidFill>
            <a:schemeClr val="tx2"/>
          </a:solidFill>
        </p:grpSpPr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CC5B977C-3CC7-49AD-82C7-FA2DD016A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135" y="1175357"/>
              <a:ext cx="1238161" cy="513587"/>
            </a:xfrm>
            <a:custGeom>
              <a:avLst/>
              <a:gdLst>
                <a:gd name="T0" fmla="*/ 1601 w 2120"/>
                <a:gd name="T1" fmla="*/ 830 h 1060"/>
                <a:gd name="T2" fmla="*/ 1604 w 2120"/>
                <a:gd name="T3" fmla="*/ 874 h 1060"/>
                <a:gd name="T4" fmla="*/ 165 w 2120"/>
                <a:gd name="T5" fmla="*/ 874 h 1060"/>
                <a:gd name="T6" fmla="*/ 165 w 2120"/>
                <a:gd name="T7" fmla="*/ 852 h 1060"/>
                <a:gd name="T8" fmla="*/ 165 w 2120"/>
                <a:gd name="T9" fmla="*/ 830 h 1060"/>
                <a:gd name="T10" fmla="*/ 1601 w 2120"/>
                <a:gd name="T11" fmla="*/ 830 h 1060"/>
                <a:gd name="T12" fmla="*/ 2120 w 2120"/>
                <a:gd name="T13" fmla="*/ 1018 h 1060"/>
                <a:gd name="T14" fmla="*/ 2120 w 2120"/>
                <a:gd name="T15" fmla="*/ 1038 h 1060"/>
                <a:gd name="T16" fmla="*/ 2098 w 2120"/>
                <a:gd name="T17" fmla="*/ 1060 h 1060"/>
                <a:gd name="T18" fmla="*/ 101 w 2120"/>
                <a:gd name="T19" fmla="*/ 1060 h 1060"/>
                <a:gd name="T20" fmla="*/ 0 w 2120"/>
                <a:gd name="T21" fmla="*/ 959 h 1060"/>
                <a:gd name="T22" fmla="*/ 0 w 2120"/>
                <a:gd name="T23" fmla="*/ 931 h 1060"/>
                <a:gd name="T24" fmla="*/ 79 w 2120"/>
                <a:gd name="T25" fmla="*/ 833 h 1060"/>
                <a:gd name="T26" fmla="*/ 931 w 2120"/>
                <a:gd name="T27" fmla="*/ 0 h 1060"/>
                <a:gd name="T28" fmla="*/ 1474 w 2120"/>
                <a:gd name="T29" fmla="*/ 194 h 1060"/>
                <a:gd name="T30" fmla="*/ 1479 w 2120"/>
                <a:gd name="T31" fmla="*/ 223 h 1060"/>
                <a:gd name="T32" fmla="*/ 1445 w 2120"/>
                <a:gd name="T33" fmla="*/ 278 h 1060"/>
                <a:gd name="T34" fmla="*/ 1686 w 2120"/>
                <a:gd name="T35" fmla="*/ 808 h 1060"/>
                <a:gd name="T36" fmla="*/ 2003 w 2120"/>
                <a:gd name="T37" fmla="*/ 869 h 1060"/>
                <a:gd name="T38" fmla="*/ 2005 w 2120"/>
                <a:gd name="T39" fmla="*/ 869 h 1060"/>
                <a:gd name="T40" fmla="*/ 2120 w 2120"/>
                <a:gd name="T41" fmla="*/ 1018 h 1060"/>
                <a:gd name="T42" fmla="*/ 2076 w 2120"/>
                <a:gd name="T43" fmla="*/ 1016 h 1060"/>
                <a:gd name="T44" fmla="*/ 1994 w 2120"/>
                <a:gd name="T45" fmla="*/ 912 h 1060"/>
                <a:gd name="T46" fmla="*/ 1661 w 2120"/>
                <a:gd name="T47" fmla="*/ 848 h 1060"/>
                <a:gd name="T48" fmla="*/ 1643 w 2120"/>
                <a:gd name="T49" fmla="*/ 827 h 1060"/>
                <a:gd name="T50" fmla="*/ 1401 w 2120"/>
                <a:gd name="T51" fmla="*/ 296 h 1060"/>
                <a:gd name="T52" fmla="*/ 1400 w 2120"/>
                <a:gd name="T53" fmla="*/ 294 h 1060"/>
                <a:gd name="T54" fmla="*/ 939 w 2120"/>
                <a:gd name="T55" fmla="*/ 131 h 1060"/>
                <a:gd name="T56" fmla="*/ 939 w 2120"/>
                <a:gd name="T57" fmla="*/ 131 h 1060"/>
                <a:gd name="T58" fmla="*/ 533 w 2120"/>
                <a:gd name="T59" fmla="*/ 242 h 1060"/>
                <a:gd name="T60" fmla="*/ 512 w 2120"/>
                <a:gd name="T61" fmla="*/ 204 h 1060"/>
                <a:gd name="T62" fmla="*/ 939 w 2120"/>
                <a:gd name="T63" fmla="*/ 87 h 1060"/>
                <a:gd name="T64" fmla="*/ 939 w 2120"/>
                <a:gd name="T65" fmla="*/ 87 h 1060"/>
                <a:gd name="T66" fmla="*/ 1412 w 2120"/>
                <a:gd name="T67" fmla="*/ 248 h 1060"/>
                <a:gd name="T68" fmla="*/ 1431 w 2120"/>
                <a:gd name="T69" fmla="*/ 216 h 1060"/>
                <a:gd name="T70" fmla="*/ 931 w 2120"/>
                <a:gd name="T71" fmla="*/ 44 h 1060"/>
                <a:gd name="T72" fmla="*/ 123 w 2120"/>
                <a:gd name="T73" fmla="*/ 852 h 1060"/>
                <a:gd name="T74" fmla="*/ 101 w 2120"/>
                <a:gd name="T75" fmla="*/ 874 h 1060"/>
                <a:gd name="T76" fmla="*/ 44 w 2120"/>
                <a:gd name="T77" fmla="*/ 931 h 1060"/>
                <a:gd name="T78" fmla="*/ 44 w 2120"/>
                <a:gd name="T79" fmla="*/ 959 h 1060"/>
                <a:gd name="T80" fmla="*/ 101 w 2120"/>
                <a:gd name="T81" fmla="*/ 1016 h 1060"/>
                <a:gd name="T82" fmla="*/ 2076 w 2120"/>
                <a:gd name="T83" fmla="*/ 1016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20" h="1060">
                  <a:moveTo>
                    <a:pt x="1601" y="830"/>
                  </a:moveTo>
                  <a:cubicBezTo>
                    <a:pt x="1604" y="874"/>
                    <a:pt x="1604" y="874"/>
                    <a:pt x="1604" y="874"/>
                  </a:cubicBezTo>
                  <a:cubicBezTo>
                    <a:pt x="165" y="874"/>
                    <a:pt x="165" y="874"/>
                    <a:pt x="165" y="874"/>
                  </a:cubicBezTo>
                  <a:cubicBezTo>
                    <a:pt x="165" y="852"/>
                    <a:pt x="165" y="852"/>
                    <a:pt x="165" y="852"/>
                  </a:cubicBezTo>
                  <a:cubicBezTo>
                    <a:pt x="165" y="845"/>
                    <a:pt x="165" y="838"/>
                    <a:pt x="165" y="830"/>
                  </a:cubicBezTo>
                  <a:lnTo>
                    <a:pt x="1601" y="830"/>
                  </a:lnTo>
                  <a:close/>
                  <a:moveTo>
                    <a:pt x="2120" y="1018"/>
                  </a:moveTo>
                  <a:cubicBezTo>
                    <a:pt x="2120" y="1038"/>
                    <a:pt x="2120" y="1038"/>
                    <a:pt x="2120" y="1038"/>
                  </a:cubicBezTo>
                  <a:cubicBezTo>
                    <a:pt x="2120" y="1050"/>
                    <a:pt x="2110" y="1060"/>
                    <a:pt x="2098" y="1060"/>
                  </a:cubicBezTo>
                  <a:cubicBezTo>
                    <a:pt x="101" y="1060"/>
                    <a:pt x="101" y="1060"/>
                    <a:pt x="101" y="1060"/>
                  </a:cubicBezTo>
                  <a:cubicBezTo>
                    <a:pt x="45" y="1060"/>
                    <a:pt x="0" y="1015"/>
                    <a:pt x="0" y="959"/>
                  </a:cubicBezTo>
                  <a:cubicBezTo>
                    <a:pt x="0" y="931"/>
                    <a:pt x="0" y="931"/>
                    <a:pt x="0" y="931"/>
                  </a:cubicBezTo>
                  <a:cubicBezTo>
                    <a:pt x="0" y="883"/>
                    <a:pt x="34" y="843"/>
                    <a:pt x="79" y="833"/>
                  </a:cubicBezTo>
                  <a:cubicBezTo>
                    <a:pt x="89" y="371"/>
                    <a:pt x="468" y="0"/>
                    <a:pt x="931" y="0"/>
                  </a:cubicBezTo>
                  <a:cubicBezTo>
                    <a:pt x="1129" y="0"/>
                    <a:pt x="1322" y="69"/>
                    <a:pt x="1474" y="194"/>
                  </a:cubicBezTo>
                  <a:cubicBezTo>
                    <a:pt x="1482" y="201"/>
                    <a:pt x="1484" y="213"/>
                    <a:pt x="1479" y="223"/>
                  </a:cubicBezTo>
                  <a:cubicBezTo>
                    <a:pt x="1445" y="278"/>
                    <a:pt x="1445" y="278"/>
                    <a:pt x="1445" y="278"/>
                  </a:cubicBezTo>
                  <a:cubicBezTo>
                    <a:pt x="1588" y="432"/>
                    <a:pt x="1669" y="609"/>
                    <a:pt x="1686" y="808"/>
                  </a:cubicBezTo>
                  <a:cubicBezTo>
                    <a:pt x="2003" y="869"/>
                    <a:pt x="2003" y="869"/>
                    <a:pt x="2003" y="869"/>
                  </a:cubicBezTo>
                  <a:cubicBezTo>
                    <a:pt x="2004" y="869"/>
                    <a:pt x="2004" y="869"/>
                    <a:pt x="2005" y="869"/>
                  </a:cubicBezTo>
                  <a:cubicBezTo>
                    <a:pt x="2073" y="887"/>
                    <a:pt x="2120" y="948"/>
                    <a:pt x="2120" y="1018"/>
                  </a:cubicBezTo>
                  <a:close/>
                  <a:moveTo>
                    <a:pt x="2076" y="1016"/>
                  </a:moveTo>
                  <a:cubicBezTo>
                    <a:pt x="2075" y="967"/>
                    <a:pt x="2042" y="925"/>
                    <a:pt x="1994" y="912"/>
                  </a:cubicBezTo>
                  <a:cubicBezTo>
                    <a:pt x="1661" y="848"/>
                    <a:pt x="1661" y="848"/>
                    <a:pt x="1661" y="848"/>
                  </a:cubicBezTo>
                  <a:cubicBezTo>
                    <a:pt x="1651" y="846"/>
                    <a:pt x="1644" y="837"/>
                    <a:pt x="1643" y="827"/>
                  </a:cubicBezTo>
                  <a:cubicBezTo>
                    <a:pt x="1630" y="628"/>
                    <a:pt x="1549" y="449"/>
                    <a:pt x="1401" y="296"/>
                  </a:cubicBezTo>
                  <a:cubicBezTo>
                    <a:pt x="1401" y="296"/>
                    <a:pt x="1400" y="295"/>
                    <a:pt x="1400" y="294"/>
                  </a:cubicBezTo>
                  <a:cubicBezTo>
                    <a:pt x="1271" y="189"/>
                    <a:pt x="1108" y="131"/>
                    <a:pt x="939" y="131"/>
                  </a:cubicBezTo>
                  <a:cubicBezTo>
                    <a:pt x="939" y="131"/>
                    <a:pt x="939" y="131"/>
                    <a:pt x="939" y="131"/>
                  </a:cubicBezTo>
                  <a:cubicBezTo>
                    <a:pt x="800" y="131"/>
                    <a:pt x="660" y="169"/>
                    <a:pt x="533" y="242"/>
                  </a:cubicBezTo>
                  <a:cubicBezTo>
                    <a:pt x="512" y="204"/>
                    <a:pt x="512" y="204"/>
                    <a:pt x="512" y="204"/>
                  </a:cubicBezTo>
                  <a:cubicBezTo>
                    <a:pt x="645" y="127"/>
                    <a:pt x="793" y="87"/>
                    <a:pt x="939" y="87"/>
                  </a:cubicBezTo>
                  <a:cubicBezTo>
                    <a:pt x="939" y="87"/>
                    <a:pt x="939" y="87"/>
                    <a:pt x="939" y="87"/>
                  </a:cubicBezTo>
                  <a:cubicBezTo>
                    <a:pt x="1111" y="87"/>
                    <a:pt x="1277" y="144"/>
                    <a:pt x="1412" y="248"/>
                  </a:cubicBezTo>
                  <a:cubicBezTo>
                    <a:pt x="1431" y="216"/>
                    <a:pt x="1431" y="216"/>
                    <a:pt x="1431" y="216"/>
                  </a:cubicBezTo>
                  <a:cubicBezTo>
                    <a:pt x="1289" y="105"/>
                    <a:pt x="1113" y="44"/>
                    <a:pt x="931" y="44"/>
                  </a:cubicBezTo>
                  <a:cubicBezTo>
                    <a:pt x="485" y="44"/>
                    <a:pt x="123" y="406"/>
                    <a:pt x="123" y="852"/>
                  </a:cubicBezTo>
                  <a:cubicBezTo>
                    <a:pt x="123" y="864"/>
                    <a:pt x="113" y="874"/>
                    <a:pt x="101" y="874"/>
                  </a:cubicBezTo>
                  <a:cubicBezTo>
                    <a:pt x="69" y="874"/>
                    <a:pt x="44" y="900"/>
                    <a:pt x="44" y="931"/>
                  </a:cubicBezTo>
                  <a:cubicBezTo>
                    <a:pt x="44" y="959"/>
                    <a:pt x="44" y="959"/>
                    <a:pt x="44" y="959"/>
                  </a:cubicBezTo>
                  <a:cubicBezTo>
                    <a:pt x="44" y="991"/>
                    <a:pt x="69" y="1016"/>
                    <a:pt x="101" y="1016"/>
                  </a:cubicBezTo>
                  <a:lnTo>
                    <a:pt x="2076" y="10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E99C5D16-6F6A-4CE2-A4D1-A3C21F440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328" y="1259320"/>
              <a:ext cx="833857" cy="295287"/>
            </a:xfrm>
            <a:custGeom>
              <a:avLst/>
              <a:gdLst>
                <a:gd name="T0" fmla="*/ 1197 w 1428"/>
                <a:gd name="T1" fmla="*/ 610 h 610"/>
                <a:gd name="T2" fmla="*/ 715 w 1428"/>
                <a:gd name="T3" fmla="*/ 2 h 610"/>
                <a:gd name="T4" fmla="*/ 772 w 1428"/>
                <a:gd name="T5" fmla="*/ 0 h 610"/>
                <a:gd name="T6" fmla="*/ 772 w 1428"/>
                <a:gd name="T7" fmla="*/ 0 h 610"/>
                <a:gd name="T8" fmla="*/ 1198 w 1428"/>
                <a:gd name="T9" fmla="*/ 148 h 610"/>
                <a:gd name="T10" fmla="*/ 1203 w 1428"/>
                <a:gd name="T11" fmla="*/ 153 h 610"/>
                <a:gd name="T12" fmla="*/ 1428 w 1428"/>
                <a:gd name="T13" fmla="*/ 610 h 610"/>
                <a:gd name="T14" fmla="*/ 1197 w 1428"/>
                <a:gd name="T15" fmla="*/ 610 h 610"/>
                <a:gd name="T16" fmla="*/ 1092 w 1428"/>
                <a:gd name="T17" fmla="*/ 585 h 610"/>
                <a:gd name="T18" fmla="*/ 123 w 1428"/>
                <a:gd name="T19" fmla="*/ 521 h 610"/>
                <a:gd name="T20" fmla="*/ 122 w 1428"/>
                <a:gd name="T21" fmla="*/ 501 h 610"/>
                <a:gd name="T22" fmla="*/ 230 w 1428"/>
                <a:gd name="T23" fmla="*/ 136 h 610"/>
                <a:gd name="T24" fmla="*/ 180 w 1428"/>
                <a:gd name="T25" fmla="*/ 183 h 610"/>
                <a:gd name="T26" fmla="*/ 2 w 1428"/>
                <a:gd name="T27" fmla="*/ 586 h 610"/>
                <a:gd name="T28" fmla="*/ 2 w 1428"/>
                <a:gd name="T29" fmla="*/ 590 h 610"/>
                <a:gd name="T30" fmla="*/ 0 w 1428"/>
                <a:gd name="T31" fmla="*/ 610 h 610"/>
                <a:gd name="T32" fmla="*/ 133 w 1428"/>
                <a:gd name="T33" fmla="*/ 610 h 610"/>
                <a:gd name="T34" fmla="*/ 1096 w 1428"/>
                <a:gd name="T35" fmla="*/ 610 h 610"/>
                <a:gd name="T36" fmla="*/ 1092 w 1428"/>
                <a:gd name="T37" fmla="*/ 585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28" h="610">
                  <a:moveTo>
                    <a:pt x="1197" y="610"/>
                  </a:moveTo>
                  <a:cubicBezTo>
                    <a:pt x="1163" y="325"/>
                    <a:pt x="972" y="91"/>
                    <a:pt x="715" y="2"/>
                  </a:cubicBezTo>
                  <a:cubicBezTo>
                    <a:pt x="734" y="1"/>
                    <a:pt x="753" y="0"/>
                    <a:pt x="77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927" y="0"/>
                    <a:pt x="1078" y="52"/>
                    <a:pt x="1198" y="148"/>
                  </a:cubicBezTo>
                  <a:cubicBezTo>
                    <a:pt x="1203" y="153"/>
                    <a:pt x="1203" y="153"/>
                    <a:pt x="1203" y="153"/>
                  </a:cubicBezTo>
                  <a:cubicBezTo>
                    <a:pt x="1332" y="286"/>
                    <a:pt x="1407" y="440"/>
                    <a:pt x="1428" y="610"/>
                  </a:cubicBezTo>
                  <a:lnTo>
                    <a:pt x="1197" y="610"/>
                  </a:lnTo>
                  <a:close/>
                  <a:moveTo>
                    <a:pt x="1092" y="585"/>
                  </a:moveTo>
                  <a:cubicBezTo>
                    <a:pt x="123" y="521"/>
                    <a:pt x="123" y="521"/>
                    <a:pt x="123" y="521"/>
                  </a:cubicBezTo>
                  <a:cubicBezTo>
                    <a:pt x="122" y="515"/>
                    <a:pt x="122" y="508"/>
                    <a:pt x="122" y="501"/>
                  </a:cubicBezTo>
                  <a:cubicBezTo>
                    <a:pt x="122" y="362"/>
                    <a:pt x="140" y="234"/>
                    <a:pt x="230" y="136"/>
                  </a:cubicBezTo>
                  <a:cubicBezTo>
                    <a:pt x="212" y="151"/>
                    <a:pt x="196" y="166"/>
                    <a:pt x="180" y="183"/>
                  </a:cubicBezTo>
                  <a:cubicBezTo>
                    <a:pt x="85" y="294"/>
                    <a:pt x="21" y="433"/>
                    <a:pt x="2" y="586"/>
                  </a:cubicBezTo>
                  <a:cubicBezTo>
                    <a:pt x="2" y="588"/>
                    <a:pt x="2" y="589"/>
                    <a:pt x="2" y="590"/>
                  </a:cubicBezTo>
                  <a:cubicBezTo>
                    <a:pt x="1" y="597"/>
                    <a:pt x="0" y="603"/>
                    <a:pt x="0" y="610"/>
                  </a:cubicBezTo>
                  <a:cubicBezTo>
                    <a:pt x="133" y="610"/>
                    <a:pt x="133" y="610"/>
                    <a:pt x="133" y="610"/>
                  </a:cubicBezTo>
                  <a:cubicBezTo>
                    <a:pt x="1096" y="610"/>
                    <a:pt x="1096" y="610"/>
                    <a:pt x="1096" y="610"/>
                  </a:cubicBezTo>
                  <a:cubicBezTo>
                    <a:pt x="1094" y="602"/>
                    <a:pt x="1093" y="593"/>
                    <a:pt x="1092" y="5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437036" y="1763447"/>
            <a:ext cx="650881" cy="456616"/>
            <a:chOff x="5413216" y="1272655"/>
            <a:chExt cx="884451" cy="620474"/>
          </a:xfrm>
          <a:solidFill>
            <a:schemeClr val="tx2"/>
          </a:solidFill>
        </p:grpSpPr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5652819" y="1272655"/>
              <a:ext cx="644848" cy="368674"/>
            </a:xfrm>
            <a:custGeom>
              <a:avLst/>
              <a:gdLst>
                <a:gd name="connsiteX0" fmla="*/ 20275 w 840917"/>
                <a:gd name="connsiteY0" fmla="*/ 256303 h 580108"/>
                <a:gd name="connsiteX1" fmla="*/ 200737 w 840917"/>
                <a:gd name="connsiteY1" fmla="*/ 256303 h 580108"/>
                <a:gd name="connsiteX2" fmla="*/ 218569 w 840917"/>
                <a:gd name="connsiteY2" fmla="*/ 265589 h 580108"/>
                <a:gd name="connsiteX3" fmla="*/ 274919 w 840917"/>
                <a:gd name="connsiteY3" fmla="*/ 412751 h 580108"/>
                <a:gd name="connsiteX4" fmla="*/ 159366 w 840917"/>
                <a:gd name="connsiteY4" fmla="*/ 407036 h 580108"/>
                <a:gd name="connsiteX5" fmla="*/ 16709 w 840917"/>
                <a:gd name="connsiteY5" fmla="*/ 264161 h 580108"/>
                <a:gd name="connsiteX6" fmla="*/ 20275 w 840917"/>
                <a:gd name="connsiteY6" fmla="*/ 256303 h 580108"/>
                <a:gd name="connsiteX7" fmla="*/ 651482 w 840917"/>
                <a:gd name="connsiteY7" fmla="*/ 255588 h 580108"/>
                <a:gd name="connsiteX8" fmla="*/ 824991 w 840917"/>
                <a:gd name="connsiteY8" fmla="*/ 256301 h 580108"/>
                <a:gd name="connsiteX9" fmla="*/ 828561 w 840917"/>
                <a:gd name="connsiteY9" fmla="*/ 264138 h 580108"/>
                <a:gd name="connsiteX10" fmla="*/ 514389 w 840917"/>
                <a:gd name="connsiteY10" fmla="*/ 578338 h 580108"/>
                <a:gd name="connsiteX11" fmla="*/ 506534 w 840917"/>
                <a:gd name="connsiteY11" fmla="*/ 574063 h 580108"/>
                <a:gd name="connsiteX12" fmla="*/ 506534 w 840917"/>
                <a:gd name="connsiteY12" fmla="*/ 573351 h 580108"/>
                <a:gd name="connsiteX13" fmla="*/ 617923 w 840917"/>
                <a:gd name="connsiteY13" fmla="*/ 278387 h 580108"/>
                <a:gd name="connsiteX14" fmla="*/ 651482 w 840917"/>
                <a:gd name="connsiteY14" fmla="*/ 255588 h 580108"/>
                <a:gd name="connsiteX15" fmla="*/ 268809 w 840917"/>
                <a:gd name="connsiteY15" fmla="*/ 255588 h 580108"/>
                <a:gd name="connsiteX16" fmla="*/ 574001 w 840917"/>
                <a:gd name="connsiteY16" fmla="*/ 255588 h 580108"/>
                <a:gd name="connsiteX17" fmla="*/ 578290 w 840917"/>
                <a:gd name="connsiteY17" fmla="*/ 262020 h 580108"/>
                <a:gd name="connsiteX18" fmla="*/ 497525 w 840917"/>
                <a:gd name="connsiteY18" fmla="*/ 477838 h 580108"/>
                <a:gd name="connsiteX19" fmla="*/ 405324 w 840917"/>
                <a:gd name="connsiteY19" fmla="*/ 419238 h 580108"/>
                <a:gd name="connsiteX20" fmla="*/ 321700 w 840917"/>
                <a:gd name="connsiteY20" fmla="*/ 414951 h 580108"/>
                <a:gd name="connsiteX21" fmla="*/ 264520 w 840917"/>
                <a:gd name="connsiteY21" fmla="*/ 262020 h 580108"/>
                <a:gd name="connsiteX22" fmla="*/ 268809 w 840917"/>
                <a:gd name="connsiteY22" fmla="*/ 255588 h 580108"/>
                <a:gd name="connsiteX23" fmla="*/ 375756 w 840917"/>
                <a:gd name="connsiteY23" fmla="*/ 1433 h 580108"/>
                <a:gd name="connsiteX24" fmla="*/ 466182 w 840917"/>
                <a:gd name="connsiteY24" fmla="*/ 1433 h 580108"/>
                <a:gd name="connsiteX25" fmla="*/ 486831 w 840917"/>
                <a:gd name="connsiteY25" fmla="*/ 12176 h 580108"/>
                <a:gd name="connsiteX26" fmla="*/ 575832 w 840917"/>
                <a:gd name="connsiteY26" fmla="*/ 205563 h 580108"/>
                <a:gd name="connsiteX27" fmla="*/ 571560 w 840917"/>
                <a:gd name="connsiteY27" fmla="*/ 212725 h 580108"/>
                <a:gd name="connsiteX28" fmla="*/ 271802 w 840917"/>
                <a:gd name="connsiteY28" fmla="*/ 212725 h 580108"/>
                <a:gd name="connsiteX29" fmla="*/ 267530 w 840917"/>
                <a:gd name="connsiteY29" fmla="*/ 205563 h 580108"/>
                <a:gd name="connsiteX30" fmla="*/ 357244 w 840917"/>
                <a:gd name="connsiteY30" fmla="*/ 10028 h 580108"/>
                <a:gd name="connsiteX31" fmla="*/ 375756 w 840917"/>
                <a:gd name="connsiteY31" fmla="*/ 1433 h 580108"/>
                <a:gd name="connsiteX32" fmla="*/ 535360 w 840917"/>
                <a:gd name="connsiteY32" fmla="*/ 0 h 580108"/>
                <a:gd name="connsiteX33" fmla="*/ 641992 w 840917"/>
                <a:gd name="connsiteY33" fmla="*/ 1434 h 580108"/>
                <a:gd name="connsiteX34" fmla="*/ 663461 w 840917"/>
                <a:gd name="connsiteY34" fmla="*/ 12185 h 580108"/>
                <a:gd name="connsiteX35" fmla="*/ 840226 w 840917"/>
                <a:gd name="connsiteY35" fmla="*/ 204278 h 580108"/>
                <a:gd name="connsiteX36" fmla="*/ 837363 w 840917"/>
                <a:gd name="connsiteY36" fmla="*/ 212163 h 580108"/>
                <a:gd name="connsiteX37" fmla="*/ 827344 w 840917"/>
                <a:gd name="connsiteY37" fmla="*/ 213596 h 580108"/>
                <a:gd name="connsiteX38" fmla="*/ 646285 w 840917"/>
                <a:gd name="connsiteY38" fmla="*/ 213596 h 580108"/>
                <a:gd name="connsiteX39" fmla="*/ 616228 w 840917"/>
                <a:gd name="connsiteY39" fmla="*/ 194960 h 580108"/>
                <a:gd name="connsiteX40" fmla="*/ 531066 w 840917"/>
                <a:gd name="connsiteY40" fmla="*/ 7168 h 580108"/>
                <a:gd name="connsiteX41" fmla="*/ 535360 w 840917"/>
                <a:gd name="connsiteY41" fmla="*/ 0 h 580108"/>
                <a:gd name="connsiteX42" fmla="*/ 308007 w 840917"/>
                <a:gd name="connsiteY42" fmla="*/ 0 h 580108"/>
                <a:gd name="connsiteX43" fmla="*/ 312303 w 840917"/>
                <a:gd name="connsiteY43" fmla="*/ 7163 h 580108"/>
                <a:gd name="connsiteX44" fmla="*/ 220654 w 840917"/>
                <a:gd name="connsiteY44" fmla="*/ 202698 h 580108"/>
                <a:gd name="connsiteX45" fmla="*/ 207050 w 840917"/>
                <a:gd name="connsiteY45" fmla="*/ 212725 h 580108"/>
                <a:gd name="connsiteX46" fmla="*/ 5138 w 840917"/>
                <a:gd name="connsiteY46" fmla="*/ 212725 h 580108"/>
                <a:gd name="connsiteX47" fmla="*/ 842 w 840917"/>
                <a:gd name="connsiteY47" fmla="*/ 204846 h 580108"/>
                <a:gd name="connsiteX48" fmla="*/ 71010 w 840917"/>
                <a:gd name="connsiteY48" fmla="*/ 128924 h 580108"/>
                <a:gd name="connsiteX49" fmla="*/ 176978 w 840917"/>
                <a:gd name="connsiteY49" fmla="*/ 13609 h 580108"/>
                <a:gd name="connsiteX50" fmla="*/ 200606 w 840917"/>
                <a:gd name="connsiteY50" fmla="*/ 1433 h 580108"/>
                <a:gd name="connsiteX51" fmla="*/ 308007 w 840917"/>
                <a:gd name="connsiteY51" fmla="*/ 0 h 58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840917" h="580108">
                  <a:moveTo>
                    <a:pt x="20275" y="256303"/>
                  </a:moveTo>
                  <a:cubicBezTo>
                    <a:pt x="78051" y="256303"/>
                    <a:pt x="139394" y="255588"/>
                    <a:pt x="200737" y="256303"/>
                  </a:cubicBezTo>
                  <a:cubicBezTo>
                    <a:pt x="206443" y="256303"/>
                    <a:pt x="217142" y="260589"/>
                    <a:pt x="218569" y="265589"/>
                  </a:cubicBezTo>
                  <a:cubicBezTo>
                    <a:pt x="237828" y="314167"/>
                    <a:pt x="255660" y="364173"/>
                    <a:pt x="274919" y="412751"/>
                  </a:cubicBezTo>
                  <a:cubicBezTo>
                    <a:pt x="274919" y="412751"/>
                    <a:pt x="274919" y="412751"/>
                    <a:pt x="159366" y="407036"/>
                  </a:cubicBezTo>
                  <a:cubicBezTo>
                    <a:pt x="112289" y="359173"/>
                    <a:pt x="64499" y="312024"/>
                    <a:pt x="16709" y="264161"/>
                  </a:cubicBezTo>
                  <a:cubicBezTo>
                    <a:pt x="14569" y="261303"/>
                    <a:pt x="15995" y="256303"/>
                    <a:pt x="20275" y="256303"/>
                  </a:cubicBezTo>
                  <a:close/>
                  <a:moveTo>
                    <a:pt x="651482" y="255588"/>
                  </a:moveTo>
                  <a:cubicBezTo>
                    <a:pt x="710032" y="256301"/>
                    <a:pt x="768583" y="256301"/>
                    <a:pt x="824991" y="256301"/>
                  </a:cubicBezTo>
                  <a:cubicBezTo>
                    <a:pt x="829275" y="256301"/>
                    <a:pt x="832131" y="261288"/>
                    <a:pt x="828561" y="264138"/>
                  </a:cubicBezTo>
                  <a:cubicBezTo>
                    <a:pt x="723599" y="368871"/>
                    <a:pt x="618637" y="475030"/>
                    <a:pt x="514389" y="578338"/>
                  </a:cubicBezTo>
                  <a:cubicBezTo>
                    <a:pt x="510818" y="582613"/>
                    <a:pt x="505106" y="578338"/>
                    <a:pt x="506534" y="574063"/>
                  </a:cubicBezTo>
                  <a:cubicBezTo>
                    <a:pt x="506534" y="573351"/>
                    <a:pt x="506534" y="573351"/>
                    <a:pt x="506534" y="573351"/>
                  </a:cubicBezTo>
                  <a:cubicBezTo>
                    <a:pt x="544378" y="475742"/>
                    <a:pt x="581507" y="376708"/>
                    <a:pt x="617923" y="278387"/>
                  </a:cubicBezTo>
                  <a:cubicBezTo>
                    <a:pt x="624349" y="260575"/>
                    <a:pt x="632917" y="255588"/>
                    <a:pt x="651482" y="255588"/>
                  </a:cubicBezTo>
                  <a:close/>
                  <a:moveTo>
                    <a:pt x="268809" y="255588"/>
                  </a:moveTo>
                  <a:cubicBezTo>
                    <a:pt x="268809" y="255588"/>
                    <a:pt x="268809" y="255588"/>
                    <a:pt x="574001" y="255588"/>
                  </a:cubicBezTo>
                  <a:cubicBezTo>
                    <a:pt x="577575" y="255588"/>
                    <a:pt x="579719" y="259161"/>
                    <a:pt x="578290" y="262020"/>
                  </a:cubicBezTo>
                  <a:cubicBezTo>
                    <a:pt x="551130" y="334197"/>
                    <a:pt x="523970" y="406375"/>
                    <a:pt x="497525" y="477838"/>
                  </a:cubicBezTo>
                  <a:cubicBezTo>
                    <a:pt x="479656" y="444965"/>
                    <a:pt x="445349" y="421382"/>
                    <a:pt x="405324" y="419238"/>
                  </a:cubicBezTo>
                  <a:cubicBezTo>
                    <a:pt x="405324" y="419238"/>
                    <a:pt x="405324" y="419238"/>
                    <a:pt x="321700" y="414951"/>
                  </a:cubicBezTo>
                  <a:cubicBezTo>
                    <a:pt x="315982" y="400658"/>
                    <a:pt x="302402" y="362783"/>
                    <a:pt x="264520" y="262020"/>
                  </a:cubicBezTo>
                  <a:cubicBezTo>
                    <a:pt x="263806" y="259161"/>
                    <a:pt x="265235" y="255588"/>
                    <a:pt x="268809" y="255588"/>
                  </a:cubicBezTo>
                  <a:close/>
                  <a:moveTo>
                    <a:pt x="375756" y="1433"/>
                  </a:moveTo>
                  <a:cubicBezTo>
                    <a:pt x="406373" y="0"/>
                    <a:pt x="436278" y="0"/>
                    <a:pt x="466182" y="1433"/>
                  </a:cubicBezTo>
                  <a:cubicBezTo>
                    <a:pt x="472590" y="1433"/>
                    <a:pt x="483270" y="6446"/>
                    <a:pt x="486831" y="12176"/>
                  </a:cubicBezTo>
                  <a:cubicBezTo>
                    <a:pt x="516735" y="75206"/>
                    <a:pt x="544504" y="139668"/>
                    <a:pt x="575832" y="205563"/>
                  </a:cubicBezTo>
                  <a:cubicBezTo>
                    <a:pt x="576544" y="209144"/>
                    <a:pt x="575120" y="212725"/>
                    <a:pt x="571560" y="212725"/>
                  </a:cubicBezTo>
                  <a:cubicBezTo>
                    <a:pt x="571560" y="212725"/>
                    <a:pt x="571560" y="212725"/>
                    <a:pt x="271802" y="212725"/>
                  </a:cubicBezTo>
                  <a:cubicBezTo>
                    <a:pt x="268242" y="212725"/>
                    <a:pt x="265394" y="209144"/>
                    <a:pt x="267530" y="205563"/>
                  </a:cubicBezTo>
                  <a:cubicBezTo>
                    <a:pt x="297435" y="138236"/>
                    <a:pt x="327339" y="73057"/>
                    <a:pt x="357244" y="10028"/>
                  </a:cubicBezTo>
                  <a:cubicBezTo>
                    <a:pt x="360092" y="4298"/>
                    <a:pt x="369348" y="1433"/>
                    <a:pt x="375756" y="1433"/>
                  </a:cubicBezTo>
                  <a:close/>
                  <a:moveTo>
                    <a:pt x="535360" y="0"/>
                  </a:moveTo>
                  <a:cubicBezTo>
                    <a:pt x="573289" y="0"/>
                    <a:pt x="607640" y="0"/>
                    <a:pt x="641992" y="1434"/>
                  </a:cubicBezTo>
                  <a:cubicBezTo>
                    <a:pt x="649148" y="1434"/>
                    <a:pt x="658451" y="6451"/>
                    <a:pt x="663461" y="12185"/>
                  </a:cubicBezTo>
                  <a:cubicBezTo>
                    <a:pt x="722144" y="74544"/>
                    <a:pt x="779396" y="139053"/>
                    <a:pt x="840226" y="204278"/>
                  </a:cubicBezTo>
                  <a:cubicBezTo>
                    <a:pt x="841657" y="206429"/>
                    <a:pt x="840942" y="212163"/>
                    <a:pt x="837363" y="212163"/>
                  </a:cubicBezTo>
                  <a:cubicBezTo>
                    <a:pt x="833069" y="212880"/>
                    <a:pt x="829491" y="213596"/>
                    <a:pt x="827344" y="213596"/>
                  </a:cubicBezTo>
                  <a:cubicBezTo>
                    <a:pt x="766514" y="213596"/>
                    <a:pt x="706400" y="212880"/>
                    <a:pt x="646285" y="213596"/>
                  </a:cubicBezTo>
                  <a:cubicBezTo>
                    <a:pt x="630541" y="214313"/>
                    <a:pt x="621953" y="209296"/>
                    <a:pt x="616228" y="194960"/>
                  </a:cubicBezTo>
                  <a:cubicBezTo>
                    <a:pt x="588318" y="134035"/>
                    <a:pt x="560408" y="72393"/>
                    <a:pt x="531066" y="7168"/>
                  </a:cubicBezTo>
                  <a:cubicBezTo>
                    <a:pt x="528919" y="4301"/>
                    <a:pt x="531782" y="0"/>
                    <a:pt x="535360" y="0"/>
                  </a:cubicBezTo>
                  <a:close/>
                  <a:moveTo>
                    <a:pt x="308007" y="0"/>
                  </a:moveTo>
                  <a:cubicBezTo>
                    <a:pt x="310871" y="0"/>
                    <a:pt x="313019" y="4298"/>
                    <a:pt x="312303" y="7163"/>
                  </a:cubicBezTo>
                  <a:cubicBezTo>
                    <a:pt x="280083" y="75206"/>
                    <a:pt x="250727" y="138952"/>
                    <a:pt x="220654" y="202698"/>
                  </a:cubicBezTo>
                  <a:cubicBezTo>
                    <a:pt x="219222" y="206995"/>
                    <a:pt x="212062" y="211293"/>
                    <a:pt x="207050" y="212725"/>
                  </a:cubicBezTo>
                  <a:cubicBezTo>
                    <a:pt x="141178" y="212725"/>
                    <a:pt x="76022" y="212725"/>
                    <a:pt x="5138" y="212725"/>
                  </a:cubicBezTo>
                  <a:cubicBezTo>
                    <a:pt x="842" y="212725"/>
                    <a:pt x="-1306" y="206995"/>
                    <a:pt x="842" y="204846"/>
                  </a:cubicBezTo>
                  <a:cubicBezTo>
                    <a:pt x="26618" y="177629"/>
                    <a:pt x="48098" y="153277"/>
                    <a:pt x="71010" y="128924"/>
                  </a:cubicBezTo>
                  <a:cubicBezTo>
                    <a:pt x="106094" y="89531"/>
                    <a:pt x="140462" y="51570"/>
                    <a:pt x="176978" y="13609"/>
                  </a:cubicBezTo>
                  <a:cubicBezTo>
                    <a:pt x="182706" y="7879"/>
                    <a:pt x="192014" y="1433"/>
                    <a:pt x="200606" y="1433"/>
                  </a:cubicBezTo>
                  <a:cubicBezTo>
                    <a:pt x="234259" y="0"/>
                    <a:pt x="268627" y="0"/>
                    <a:pt x="3080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5413216" y="1549095"/>
              <a:ext cx="861802" cy="344034"/>
            </a:xfrm>
            <a:custGeom>
              <a:avLst/>
              <a:gdLst>
                <a:gd name="connsiteX0" fmla="*/ 409739 w 1123838"/>
                <a:gd name="connsiteY0" fmla="*/ 31588 h 541338"/>
                <a:gd name="connsiteX1" fmla="*/ 326138 w 1123838"/>
                <a:gd name="connsiteY1" fmla="*/ 51530 h 541338"/>
                <a:gd name="connsiteX2" fmla="*/ 31750 w 1123838"/>
                <a:gd name="connsiteY2" fmla="*/ 218189 h 541338"/>
                <a:gd name="connsiteX3" fmla="*/ 31750 w 1123838"/>
                <a:gd name="connsiteY3" fmla="*/ 501651 h 541338"/>
                <a:gd name="connsiteX4" fmla="*/ 368296 w 1123838"/>
                <a:gd name="connsiteY4" fmla="*/ 372028 h 541338"/>
                <a:gd name="connsiteX5" fmla="*/ 419028 w 1123838"/>
                <a:gd name="connsiteY5" fmla="*/ 364193 h 541338"/>
                <a:gd name="connsiteX6" fmla="*/ 568366 w 1123838"/>
                <a:gd name="connsiteY6" fmla="*/ 374876 h 541338"/>
                <a:gd name="connsiteX7" fmla="*/ 797017 w 1123838"/>
                <a:gd name="connsiteY7" fmla="*/ 348524 h 541338"/>
                <a:gd name="connsiteX8" fmla="*/ 1047818 w 1123838"/>
                <a:gd name="connsiteY8" fmla="*/ 182578 h 541338"/>
                <a:gd name="connsiteX9" fmla="*/ 1079972 w 1123838"/>
                <a:gd name="connsiteY9" fmla="*/ 145542 h 541338"/>
                <a:gd name="connsiteX10" fmla="*/ 1074971 w 1123838"/>
                <a:gd name="connsiteY10" fmla="*/ 71472 h 541338"/>
                <a:gd name="connsiteX11" fmla="*/ 1036386 w 1123838"/>
                <a:gd name="connsiteY11" fmla="*/ 57940 h 541338"/>
                <a:gd name="connsiteX12" fmla="*/ 999230 w 1123838"/>
                <a:gd name="connsiteY12" fmla="*/ 75745 h 541338"/>
                <a:gd name="connsiteX13" fmla="*/ 951356 w 1123838"/>
                <a:gd name="connsiteY13" fmla="*/ 129161 h 541338"/>
                <a:gd name="connsiteX14" fmla="*/ 805591 w 1123838"/>
                <a:gd name="connsiteY14" fmla="*/ 220325 h 541338"/>
                <a:gd name="connsiteX15" fmla="*/ 608380 w 1123838"/>
                <a:gd name="connsiteY15" fmla="*/ 209642 h 541338"/>
                <a:gd name="connsiteX16" fmla="*/ 553360 w 1123838"/>
                <a:gd name="connsiteY16" fmla="*/ 187563 h 541338"/>
                <a:gd name="connsiteX17" fmla="*/ 544071 w 1123838"/>
                <a:gd name="connsiteY17" fmla="*/ 171182 h 541338"/>
                <a:gd name="connsiteX18" fmla="*/ 557648 w 1123838"/>
                <a:gd name="connsiteY18" fmla="*/ 157650 h 541338"/>
                <a:gd name="connsiteX19" fmla="*/ 715560 w 1123838"/>
                <a:gd name="connsiteY19" fmla="*/ 141981 h 541338"/>
                <a:gd name="connsiteX20" fmla="*/ 759146 w 1123838"/>
                <a:gd name="connsiteY20" fmla="*/ 94975 h 541338"/>
                <a:gd name="connsiteX21" fmla="*/ 713416 w 1123838"/>
                <a:gd name="connsiteY21" fmla="*/ 47256 h 541338"/>
                <a:gd name="connsiteX22" fmla="*/ 409739 w 1123838"/>
                <a:gd name="connsiteY22" fmla="*/ 31588 h 541338"/>
                <a:gd name="connsiteX23" fmla="*/ 390213 w 1123838"/>
                <a:gd name="connsiteY23" fmla="*/ 0 h 541338"/>
                <a:gd name="connsiteX24" fmla="*/ 393072 w 1123838"/>
                <a:gd name="connsiteY24" fmla="*/ 0 h 541338"/>
                <a:gd name="connsiteX25" fmla="*/ 397360 w 1123838"/>
                <a:gd name="connsiteY25" fmla="*/ 0 h 541338"/>
                <a:gd name="connsiteX26" fmla="*/ 399504 w 1123838"/>
                <a:gd name="connsiteY26" fmla="*/ 0 h 541338"/>
                <a:gd name="connsiteX27" fmla="*/ 403077 w 1123838"/>
                <a:gd name="connsiteY27" fmla="*/ 0 h 541338"/>
                <a:gd name="connsiteX28" fmla="*/ 410939 w 1123838"/>
                <a:gd name="connsiteY28" fmla="*/ 0 h 541338"/>
                <a:gd name="connsiteX29" fmla="*/ 715390 w 1123838"/>
                <a:gd name="connsiteY29" fmla="*/ 15712 h 541338"/>
                <a:gd name="connsiteX30" fmla="*/ 780426 w 1123838"/>
                <a:gd name="connsiteY30" fmla="*/ 56419 h 541338"/>
                <a:gd name="connsiteX31" fmla="*/ 782570 w 1123838"/>
                <a:gd name="connsiteY31" fmla="*/ 60704 h 541338"/>
                <a:gd name="connsiteX32" fmla="*/ 789002 w 1123838"/>
                <a:gd name="connsiteY32" fmla="*/ 79273 h 541338"/>
                <a:gd name="connsiteX33" fmla="*/ 790431 w 1123838"/>
                <a:gd name="connsiteY33" fmla="*/ 94984 h 541338"/>
                <a:gd name="connsiteX34" fmla="*/ 789716 w 1123838"/>
                <a:gd name="connsiteY34" fmla="*/ 100698 h 541338"/>
                <a:gd name="connsiteX35" fmla="*/ 789716 w 1123838"/>
                <a:gd name="connsiteY35" fmla="*/ 101412 h 541338"/>
                <a:gd name="connsiteX36" fmla="*/ 789002 w 1123838"/>
                <a:gd name="connsiteY36" fmla="*/ 107125 h 541338"/>
                <a:gd name="connsiteX37" fmla="*/ 763988 w 1123838"/>
                <a:gd name="connsiteY37" fmla="*/ 154260 h 541338"/>
                <a:gd name="connsiteX38" fmla="*/ 763273 w 1123838"/>
                <a:gd name="connsiteY38" fmla="*/ 154260 h 541338"/>
                <a:gd name="connsiteX39" fmla="*/ 758985 w 1123838"/>
                <a:gd name="connsiteY39" fmla="*/ 157831 h 541338"/>
                <a:gd name="connsiteX40" fmla="*/ 754697 w 1123838"/>
                <a:gd name="connsiteY40" fmla="*/ 160688 h 541338"/>
                <a:gd name="connsiteX41" fmla="*/ 753983 w 1123838"/>
                <a:gd name="connsiteY41" fmla="*/ 161402 h 541338"/>
                <a:gd name="connsiteX42" fmla="*/ 749695 w 1123838"/>
                <a:gd name="connsiteY42" fmla="*/ 164258 h 541338"/>
                <a:gd name="connsiteX43" fmla="*/ 748265 w 1123838"/>
                <a:gd name="connsiteY43" fmla="*/ 164973 h 541338"/>
                <a:gd name="connsiteX44" fmla="*/ 743263 w 1123838"/>
                <a:gd name="connsiteY44" fmla="*/ 167115 h 541338"/>
                <a:gd name="connsiteX45" fmla="*/ 742548 w 1123838"/>
                <a:gd name="connsiteY45" fmla="*/ 167829 h 541338"/>
                <a:gd name="connsiteX46" fmla="*/ 738260 w 1123838"/>
                <a:gd name="connsiteY46" fmla="*/ 169258 h 541338"/>
                <a:gd name="connsiteX47" fmla="*/ 718964 w 1123838"/>
                <a:gd name="connsiteY47" fmla="*/ 173543 h 541338"/>
                <a:gd name="connsiteX48" fmla="*/ 624626 w 1123838"/>
                <a:gd name="connsiteY48" fmla="*/ 182827 h 541338"/>
                <a:gd name="connsiteX49" fmla="*/ 743263 w 1123838"/>
                <a:gd name="connsiteY49" fmla="*/ 199967 h 541338"/>
                <a:gd name="connsiteX50" fmla="*/ 774708 w 1123838"/>
                <a:gd name="connsiteY50" fmla="*/ 195682 h 541338"/>
                <a:gd name="connsiteX51" fmla="*/ 775423 w 1123838"/>
                <a:gd name="connsiteY51" fmla="*/ 195682 h 541338"/>
                <a:gd name="connsiteX52" fmla="*/ 785428 w 1123838"/>
                <a:gd name="connsiteY52" fmla="*/ 193539 h 541338"/>
                <a:gd name="connsiteX53" fmla="*/ 786858 w 1123838"/>
                <a:gd name="connsiteY53" fmla="*/ 192825 h 541338"/>
                <a:gd name="connsiteX54" fmla="*/ 796863 w 1123838"/>
                <a:gd name="connsiteY54" fmla="*/ 190683 h 541338"/>
                <a:gd name="connsiteX55" fmla="*/ 826880 w 1123838"/>
                <a:gd name="connsiteY55" fmla="*/ 179970 h 541338"/>
                <a:gd name="connsiteX56" fmla="*/ 909782 w 1123838"/>
                <a:gd name="connsiteY56" fmla="*/ 127122 h 541338"/>
                <a:gd name="connsiteX57" fmla="*/ 928363 w 1123838"/>
                <a:gd name="connsiteY57" fmla="*/ 108553 h 541338"/>
                <a:gd name="connsiteX58" fmla="*/ 975532 w 1123838"/>
                <a:gd name="connsiteY58" fmla="*/ 54991 h 541338"/>
                <a:gd name="connsiteX59" fmla="*/ 978391 w 1123838"/>
                <a:gd name="connsiteY59" fmla="*/ 51420 h 541338"/>
                <a:gd name="connsiteX60" fmla="*/ 979105 w 1123838"/>
                <a:gd name="connsiteY60" fmla="*/ 51420 h 541338"/>
                <a:gd name="connsiteX61" fmla="*/ 1034135 w 1123838"/>
                <a:gd name="connsiteY61" fmla="*/ 26424 h 541338"/>
                <a:gd name="connsiteX62" fmla="*/ 1034850 w 1123838"/>
                <a:gd name="connsiteY62" fmla="*/ 26424 h 541338"/>
                <a:gd name="connsiteX63" fmla="*/ 1039138 w 1123838"/>
                <a:gd name="connsiteY63" fmla="*/ 26424 h 541338"/>
                <a:gd name="connsiteX64" fmla="*/ 1040567 w 1123838"/>
                <a:gd name="connsiteY64" fmla="*/ 26424 h 541338"/>
                <a:gd name="connsiteX65" fmla="*/ 1079875 w 1123838"/>
                <a:gd name="connsiteY65" fmla="*/ 37137 h 541338"/>
                <a:gd name="connsiteX66" fmla="*/ 1083448 w 1123838"/>
                <a:gd name="connsiteY66" fmla="*/ 39279 h 541338"/>
                <a:gd name="connsiteX67" fmla="*/ 1086307 w 1123838"/>
                <a:gd name="connsiteY67" fmla="*/ 40708 h 541338"/>
                <a:gd name="connsiteX68" fmla="*/ 1087021 w 1123838"/>
                <a:gd name="connsiteY68" fmla="*/ 41422 h 541338"/>
                <a:gd name="connsiteX69" fmla="*/ 1089880 w 1123838"/>
                <a:gd name="connsiteY69" fmla="*/ 43564 h 541338"/>
                <a:gd name="connsiteX70" fmla="*/ 1090595 w 1123838"/>
                <a:gd name="connsiteY70" fmla="*/ 44278 h 541338"/>
                <a:gd name="connsiteX71" fmla="*/ 1092739 w 1123838"/>
                <a:gd name="connsiteY71" fmla="*/ 45707 h 541338"/>
                <a:gd name="connsiteX72" fmla="*/ 1095597 w 1123838"/>
                <a:gd name="connsiteY72" fmla="*/ 47849 h 541338"/>
                <a:gd name="connsiteX73" fmla="*/ 1095597 w 1123838"/>
                <a:gd name="connsiteY73" fmla="*/ 48563 h 541338"/>
                <a:gd name="connsiteX74" fmla="*/ 1103459 w 1123838"/>
                <a:gd name="connsiteY74" fmla="*/ 165687 h 541338"/>
                <a:gd name="connsiteX75" fmla="*/ 1072013 w 1123838"/>
                <a:gd name="connsiteY75" fmla="*/ 203538 h 541338"/>
                <a:gd name="connsiteX76" fmla="*/ 966241 w 1123838"/>
                <a:gd name="connsiteY76" fmla="*/ 299950 h 541338"/>
                <a:gd name="connsiteX77" fmla="*/ 956950 w 1123838"/>
                <a:gd name="connsiteY77" fmla="*/ 306377 h 541338"/>
                <a:gd name="connsiteX78" fmla="*/ 948374 w 1123838"/>
                <a:gd name="connsiteY78" fmla="*/ 312091 h 541338"/>
                <a:gd name="connsiteX79" fmla="*/ 806154 w 1123838"/>
                <a:gd name="connsiteY79" fmla="*/ 379222 h 541338"/>
                <a:gd name="connsiteX80" fmla="*/ 792575 w 1123838"/>
                <a:gd name="connsiteY80" fmla="*/ 383507 h 541338"/>
                <a:gd name="connsiteX81" fmla="*/ 788287 w 1123838"/>
                <a:gd name="connsiteY81" fmla="*/ 384222 h 541338"/>
                <a:gd name="connsiteX82" fmla="*/ 779711 w 1123838"/>
                <a:gd name="connsiteY82" fmla="*/ 387078 h 541338"/>
                <a:gd name="connsiteX83" fmla="*/ 773994 w 1123838"/>
                <a:gd name="connsiteY83" fmla="*/ 388507 h 541338"/>
                <a:gd name="connsiteX84" fmla="*/ 766132 w 1123838"/>
                <a:gd name="connsiteY84" fmla="*/ 389935 h 541338"/>
                <a:gd name="connsiteX85" fmla="*/ 759700 w 1123838"/>
                <a:gd name="connsiteY85" fmla="*/ 392077 h 541338"/>
                <a:gd name="connsiteX86" fmla="*/ 753983 w 1123838"/>
                <a:gd name="connsiteY86" fmla="*/ 392792 h 541338"/>
                <a:gd name="connsiteX87" fmla="*/ 723966 w 1123838"/>
                <a:gd name="connsiteY87" fmla="*/ 399219 h 541338"/>
                <a:gd name="connsiteX88" fmla="*/ 721822 w 1123838"/>
                <a:gd name="connsiteY88" fmla="*/ 399219 h 541338"/>
                <a:gd name="connsiteX89" fmla="*/ 711102 w 1123838"/>
                <a:gd name="connsiteY89" fmla="*/ 401362 h 541338"/>
                <a:gd name="connsiteX90" fmla="*/ 709673 w 1123838"/>
                <a:gd name="connsiteY90" fmla="*/ 401362 h 541338"/>
                <a:gd name="connsiteX91" fmla="*/ 650355 w 1123838"/>
                <a:gd name="connsiteY91" fmla="*/ 407789 h 541338"/>
                <a:gd name="connsiteX92" fmla="*/ 648211 w 1123838"/>
                <a:gd name="connsiteY92" fmla="*/ 407789 h 541338"/>
                <a:gd name="connsiteX93" fmla="*/ 637491 w 1123838"/>
                <a:gd name="connsiteY93" fmla="*/ 408503 h 541338"/>
                <a:gd name="connsiteX94" fmla="*/ 635347 w 1123838"/>
                <a:gd name="connsiteY94" fmla="*/ 408503 h 541338"/>
                <a:gd name="connsiteX95" fmla="*/ 621053 w 1123838"/>
                <a:gd name="connsiteY95" fmla="*/ 408503 h 541338"/>
                <a:gd name="connsiteX96" fmla="*/ 619624 w 1123838"/>
                <a:gd name="connsiteY96" fmla="*/ 408503 h 541338"/>
                <a:gd name="connsiteX97" fmla="*/ 612477 w 1123838"/>
                <a:gd name="connsiteY97" fmla="*/ 408503 h 541338"/>
                <a:gd name="connsiteX98" fmla="*/ 606045 w 1123838"/>
                <a:gd name="connsiteY98" fmla="*/ 408503 h 541338"/>
                <a:gd name="connsiteX99" fmla="*/ 598898 w 1123838"/>
                <a:gd name="connsiteY99" fmla="*/ 408503 h 541338"/>
                <a:gd name="connsiteX100" fmla="*/ 592466 w 1123838"/>
                <a:gd name="connsiteY100" fmla="*/ 408503 h 541338"/>
                <a:gd name="connsiteX101" fmla="*/ 584605 w 1123838"/>
                <a:gd name="connsiteY101" fmla="*/ 407789 h 541338"/>
                <a:gd name="connsiteX102" fmla="*/ 578887 w 1123838"/>
                <a:gd name="connsiteY102" fmla="*/ 407789 h 541338"/>
                <a:gd name="connsiteX103" fmla="*/ 566738 w 1123838"/>
                <a:gd name="connsiteY103" fmla="*/ 407075 h 541338"/>
                <a:gd name="connsiteX104" fmla="*/ 566023 w 1123838"/>
                <a:gd name="connsiteY104" fmla="*/ 407075 h 541338"/>
                <a:gd name="connsiteX105" fmla="*/ 485265 w 1123838"/>
                <a:gd name="connsiteY105" fmla="*/ 401362 h 541338"/>
                <a:gd name="connsiteX106" fmla="*/ 416656 w 1123838"/>
                <a:gd name="connsiteY106" fmla="*/ 396362 h 541338"/>
                <a:gd name="connsiteX107" fmla="*/ 410939 w 1123838"/>
                <a:gd name="connsiteY107" fmla="*/ 396362 h 541338"/>
                <a:gd name="connsiteX108" fmla="*/ 407365 w 1123838"/>
                <a:gd name="connsiteY108" fmla="*/ 396362 h 541338"/>
                <a:gd name="connsiteX109" fmla="*/ 393072 w 1123838"/>
                <a:gd name="connsiteY109" fmla="*/ 397791 h 541338"/>
                <a:gd name="connsiteX110" fmla="*/ 388784 w 1123838"/>
                <a:gd name="connsiteY110" fmla="*/ 398505 h 541338"/>
                <a:gd name="connsiteX111" fmla="*/ 388784 w 1123838"/>
                <a:gd name="connsiteY111" fmla="*/ 399219 h 541338"/>
                <a:gd name="connsiteX112" fmla="*/ 384496 w 1123838"/>
                <a:gd name="connsiteY112" fmla="*/ 399933 h 541338"/>
                <a:gd name="connsiteX113" fmla="*/ 383781 w 1123838"/>
                <a:gd name="connsiteY113" fmla="*/ 400647 h 541338"/>
                <a:gd name="connsiteX114" fmla="*/ 379493 w 1123838"/>
                <a:gd name="connsiteY114" fmla="*/ 402076 h 541338"/>
                <a:gd name="connsiteX115" fmla="*/ 21441 w 1123838"/>
                <a:gd name="connsiteY115" fmla="*/ 540624 h 541338"/>
                <a:gd name="connsiteX116" fmla="*/ 15723 w 1123838"/>
                <a:gd name="connsiteY116" fmla="*/ 541338 h 541338"/>
                <a:gd name="connsiteX117" fmla="*/ 7147 w 1123838"/>
                <a:gd name="connsiteY117" fmla="*/ 538481 h 541338"/>
                <a:gd name="connsiteX118" fmla="*/ 0 w 1123838"/>
                <a:gd name="connsiteY118" fmla="*/ 525626 h 541338"/>
                <a:gd name="connsiteX119" fmla="*/ 0 w 1123838"/>
                <a:gd name="connsiteY119" fmla="*/ 209251 h 541338"/>
                <a:gd name="connsiteX120" fmla="*/ 7862 w 1123838"/>
                <a:gd name="connsiteY120" fmla="*/ 195682 h 541338"/>
                <a:gd name="connsiteX121" fmla="*/ 310169 w 1123838"/>
                <a:gd name="connsiteY121" fmla="*/ 24282 h 541338"/>
                <a:gd name="connsiteX122" fmla="*/ 315887 w 1123838"/>
                <a:gd name="connsiteY122" fmla="*/ 21425 h 541338"/>
                <a:gd name="connsiteX123" fmla="*/ 318031 w 1123838"/>
                <a:gd name="connsiteY123" fmla="*/ 19997 h 541338"/>
                <a:gd name="connsiteX124" fmla="*/ 320889 w 1123838"/>
                <a:gd name="connsiteY124" fmla="*/ 18568 h 541338"/>
                <a:gd name="connsiteX125" fmla="*/ 324463 w 1123838"/>
                <a:gd name="connsiteY125" fmla="*/ 17140 h 541338"/>
                <a:gd name="connsiteX126" fmla="*/ 326607 w 1123838"/>
                <a:gd name="connsiteY126" fmla="*/ 15712 h 541338"/>
                <a:gd name="connsiteX127" fmla="*/ 330180 w 1123838"/>
                <a:gd name="connsiteY127" fmla="*/ 14283 h 541338"/>
                <a:gd name="connsiteX128" fmla="*/ 332324 w 1123838"/>
                <a:gd name="connsiteY128" fmla="*/ 13569 h 541338"/>
                <a:gd name="connsiteX129" fmla="*/ 336612 w 1123838"/>
                <a:gd name="connsiteY129" fmla="*/ 12141 h 541338"/>
                <a:gd name="connsiteX130" fmla="*/ 338042 w 1123838"/>
                <a:gd name="connsiteY130" fmla="*/ 11427 h 541338"/>
                <a:gd name="connsiteX131" fmla="*/ 342330 w 1123838"/>
                <a:gd name="connsiteY131" fmla="*/ 9998 h 541338"/>
                <a:gd name="connsiteX132" fmla="*/ 343759 w 1123838"/>
                <a:gd name="connsiteY132" fmla="*/ 9284 h 541338"/>
                <a:gd name="connsiteX133" fmla="*/ 348047 w 1123838"/>
                <a:gd name="connsiteY133" fmla="*/ 7856 h 541338"/>
                <a:gd name="connsiteX134" fmla="*/ 349476 w 1123838"/>
                <a:gd name="connsiteY134" fmla="*/ 7856 h 541338"/>
                <a:gd name="connsiteX135" fmla="*/ 354479 w 1123838"/>
                <a:gd name="connsiteY135" fmla="*/ 6428 h 541338"/>
                <a:gd name="connsiteX136" fmla="*/ 354479 w 1123838"/>
                <a:gd name="connsiteY136" fmla="*/ 5713 h 541338"/>
                <a:gd name="connsiteX137" fmla="*/ 381637 w 1123838"/>
                <a:gd name="connsiteY137" fmla="*/ 1428 h 541338"/>
                <a:gd name="connsiteX138" fmla="*/ 383781 w 1123838"/>
                <a:gd name="connsiteY138" fmla="*/ 714 h 541338"/>
                <a:gd name="connsiteX139" fmla="*/ 387354 w 1123838"/>
                <a:gd name="connsiteY139" fmla="*/ 714 h 541338"/>
                <a:gd name="connsiteX140" fmla="*/ 390213 w 1123838"/>
                <a:gd name="connsiteY140" fmla="*/ 0 h 5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123838" h="541338">
                  <a:moveTo>
                    <a:pt x="409739" y="31588"/>
                  </a:moveTo>
                  <a:cubicBezTo>
                    <a:pt x="380443" y="30163"/>
                    <a:pt x="351147" y="37285"/>
                    <a:pt x="326138" y="51530"/>
                  </a:cubicBezTo>
                  <a:cubicBezTo>
                    <a:pt x="326138" y="51530"/>
                    <a:pt x="326138" y="51530"/>
                    <a:pt x="31750" y="218189"/>
                  </a:cubicBezTo>
                  <a:cubicBezTo>
                    <a:pt x="31750" y="218189"/>
                    <a:pt x="31750" y="218189"/>
                    <a:pt x="31750" y="501651"/>
                  </a:cubicBezTo>
                  <a:cubicBezTo>
                    <a:pt x="31750" y="501651"/>
                    <a:pt x="31750" y="501651"/>
                    <a:pt x="368296" y="372028"/>
                  </a:cubicBezTo>
                  <a:cubicBezTo>
                    <a:pt x="384730" y="365618"/>
                    <a:pt x="401879" y="362769"/>
                    <a:pt x="419028" y="364193"/>
                  </a:cubicBezTo>
                  <a:cubicBezTo>
                    <a:pt x="419028" y="364193"/>
                    <a:pt x="419028" y="364193"/>
                    <a:pt x="568366" y="374876"/>
                  </a:cubicBezTo>
                  <a:cubicBezTo>
                    <a:pt x="645535" y="380574"/>
                    <a:pt x="722705" y="371315"/>
                    <a:pt x="797017" y="348524"/>
                  </a:cubicBezTo>
                  <a:cubicBezTo>
                    <a:pt x="894908" y="317899"/>
                    <a:pt x="981367" y="260922"/>
                    <a:pt x="1047818" y="182578"/>
                  </a:cubicBezTo>
                  <a:cubicBezTo>
                    <a:pt x="1047818" y="182578"/>
                    <a:pt x="1047818" y="182578"/>
                    <a:pt x="1079972" y="145542"/>
                  </a:cubicBezTo>
                  <a:cubicBezTo>
                    <a:pt x="1098550" y="123464"/>
                    <a:pt x="1096407" y="90702"/>
                    <a:pt x="1074971" y="71472"/>
                  </a:cubicBezTo>
                  <a:cubicBezTo>
                    <a:pt x="1064253" y="62213"/>
                    <a:pt x="1050676" y="57227"/>
                    <a:pt x="1036386" y="57940"/>
                  </a:cubicBezTo>
                  <a:cubicBezTo>
                    <a:pt x="1022095" y="58652"/>
                    <a:pt x="1008519" y="65062"/>
                    <a:pt x="999230" y="75745"/>
                  </a:cubicBezTo>
                  <a:cubicBezTo>
                    <a:pt x="999230" y="75745"/>
                    <a:pt x="999230" y="75745"/>
                    <a:pt x="951356" y="129161"/>
                  </a:cubicBezTo>
                  <a:cubicBezTo>
                    <a:pt x="912771" y="173319"/>
                    <a:pt x="862039" y="204656"/>
                    <a:pt x="805591" y="220325"/>
                  </a:cubicBezTo>
                  <a:cubicBezTo>
                    <a:pt x="740568" y="238843"/>
                    <a:pt x="670544" y="234570"/>
                    <a:pt x="608380" y="209642"/>
                  </a:cubicBezTo>
                  <a:cubicBezTo>
                    <a:pt x="608380" y="209642"/>
                    <a:pt x="608380" y="209642"/>
                    <a:pt x="553360" y="187563"/>
                  </a:cubicBezTo>
                  <a:cubicBezTo>
                    <a:pt x="546930" y="184714"/>
                    <a:pt x="542642" y="178304"/>
                    <a:pt x="544071" y="171182"/>
                  </a:cubicBezTo>
                  <a:cubicBezTo>
                    <a:pt x="544786" y="164060"/>
                    <a:pt x="550502" y="158362"/>
                    <a:pt x="557648" y="157650"/>
                  </a:cubicBezTo>
                  <a:cubicBezTo>
                    <a:pt x="557648" y="157650"/>
                    <a:pt x="557648" y="157650"/>
                    <a:pt x="715560" y="141981"/>
                  </a:cubicBezTo>
                  <a:cubicBezTo>
                    <a:pt x="740568" y="139845"/>
                    <a:pt x="759146" y="119190"/>
                    <a:pt x="759146" y="94975"/>
                  </a:cubicBezTo>
                  <a:cubicBezTo>
                    <a:pt x="759146" y="69335"/>
                    <a:pt x="739139" y="48681"/>
                    <a:pt x="713416" y="47256"/>
                  </a:cubicBezTo>
                  <a:cubicBezTo>
                    <a:pt x="713416" y="47256"/>
                    <a:pt x="713416" y="47256"/>
                    <a:pt x="409739" y="31588"/>
                  </a:cubicBezTo>
                  <a:close/>
                  <a:moveTo>
                    <a:pt x="390213" y="0"/>
                  </a:moveTo>
                  <a:cubicBezTo>
                    <a:pt x="391642" y="0"/>
                    <a:pt x="392357" y="0"/>
                    <a:pt x="393072" y="0"/>
                  </a:cubicBezTo>
                  <a:cubicBezTo>
                    <a:pt x="394501" y="0"/>
                    <a:pt x="395930" y="0"/>
                    <a:pt x="397360" y="0"/>
                  </a:cubicBezTo>
                  <a:cubicBezTo>
                    <a:pt x="398074" y="0"/>
                    <a:pt x="398789" y="0"/>
                    <a:pt x="399504" y="0"/>
                  </a:cubicBezTo>
                  <a:cubicBezTo>
                    <a:pt x="400933" y="0"/>
                    <a:pt x="401648" y="0"/>
                    <a:pt x="403077" y="0"/>
                  </a:cubicBezTo>
                  <a:cubicBezTo>
                    <a:pt x="405936" y="0"/>
                    <a:pt x="408794" y="0"/>
                    <a:pt x="410939" y="0"/>
                  </a:cubicBezTo>
                  <a:cubicBezTo>
                    <a:pt x="410939" y="0"/>
                    <a:pt x="410939" y="0"/>
                    <a:pt x="715390" y="15712"/>
                  </a:cubicBezTo>
                  <a:cubicBezTo>
                    <a:pt x="743263" y="17140"/>
                    <a:pt x="766847" y="33566"/>
                    <a:pt x="780426" y="56419"/>
                  </a:cubicBezTo>
                  <a:cubicBezTo>
                    <a:pt x="781140" y="57848"/>
                    <a:pt x="781855" y="59276"/>
                    <a:pt x="782570" y="60704"/>
                  </a:cubicBezTo>
                  <a:cubicBezTo>
                    <a:pt x="785428" y="66418"/>
                    <a:pt x="787572" y="72845"/>
                    <a:pt x="789002" y="79273"/>
                  </a:cubicBezTo>
                  <a:cubicBezTo>
                    <a:pt x="789716" y="84272"/>
                    <a:pt x="790431" y="89271"/>
                    <a:pt x="790431" y="94984"/>
                  </a:cubicBezTo>
                  <a:cubicBezTo>
                    <a:pt x="790431" y="97127"/>
                    <a:pt x="790431" y="98555"/>
                    <a:pt x="789716" y="100698"/>
                  </a:cubicBezTo>
                  <a:cubicBezTo>
                    <a:pt x="789716" y="100698"/>
                    <a:pt x="789716" y="101412"/>
                    <a:pt x="789716" y="101412"/>
                  </a:cubicBezTo>
                  <a:cubicBezTo>
                    <a:pt x="789716" y="103554"/>
                    <a:pt x="789716" y="104983"/>
                    <a:pt x="789002" y="107125"/>
                  </a:cubicBezTo>
                  <a:cubicBezTo>
                    <a:pt x="786143" y="125693"/>
                    <a:pt x="776852" y="142119"/>
                    <a:pt x="763988" y="154260"/>
                  </a:cubicBezTo>
                  <a:cubicBezTo>
                    <a:pt x="763988" y="154260"/>
                    <a:pt x="763273" y="154260"/>
                    <a:pt x="763273" y="154260"/>
                  </a:cubicBezTo>
                  <a:cubicBezTo>
                    <a:pt x="761844" y="155688"/>
                    <a:pt x="760415" y="156403"/>
                    <a:pt x="758985" y="157831"/>
                  </a:cubicBezTo>
                  <a:cubicBezTo>
                    <a:pt x="757556" y="159259"/>
                    <a:pt x="756127" y="159973"/>
                    <a:pt x="754697" y="160688"/>
                  </a:cubicBezTo>
                  <a:cubicBezTo>
                    <a:pt x="753983" y="161402"/>
                    <a:pt x="753983" y="161402"/>
                    <a:pt x="753983" y="161402"/>
                  </a:cubicBezTo>
                  <a:cubicBezTo>
                    <a:pt x="752553" y="162116"/>
                    <a:pt x="751124" y="163544"/>
                    <a:pt x="749695" y="164258"/>
                  </a:cubicBezTo>
                  <a:cubicBezTo>
                    <a:pt x="748980" y="164258"/>
                    <a:pt x="748265" y="164258"/>
                    <a:pt x="748265" y="164973"/>
                  </a:cubicBezTo>
                  <a:cubicBezTo>
                    <a:pt x="746836" y="165687"/>
                    <a:pt x="745407" y="166401"/>
                    <a:pt x="743263" y="167115"/>
                  </a:cubicBezTo>
                  <a:cubicBezTo>
                    <a:pt x="743263" y="167115"/>
                    <a:pt x="742548" y="167115"/>
                    <a:pt x="742548" y="167829"/>
                  </a:cubicBezTo>
                  <a:cubicBezTo>
                    <a:pt x="741118" y="167829"/>
                    <a:pt x="739689" y="168543"/>
                    <a:pt x="738260" y="169258"/>
                  </a:cubicBezTo>
                  <a:cubicBezTo>
                    <a:pt x="731828" y="171400"/>
                    <a:pt x="725396" y="172828"/>
                    <a:pt x="718964" y="173543"/>
                  </a:cubicBezTo>
                  <a:cubicBezTo>
                    <a:pt x="718964" y="173543"/>
                    <a:pt x="718964" y="173543"/>
                    <a:pt x="624626" y="182827"/>
                  </a:cubicBezTo>
                  <a:cubicBezTo>
                    <a:pt x="662504" y="197110"/>
                    <a:pt x="703241" y="202823"/>
                    <a:pt x="743263" y="199967"/>
                  </a:cubicBezTo>
                  <a:cubicBezTo>
                    <a:pt x="753983" y="199253"/>
                    <a:pt x="764703" y="197824"/>
                    <a:pt x="774708" y="195682"/>
                  </a:cubicBezTo>
                  <a:cubicBezTo>
                    <a:pt x="775423" y="195682"/>
                    <a:pt x="775423" y="195682"/>
                    <a:pt x="775423" y="195682"/>
                  </a:cubicBezTo>
                  <a:cubicBezTo>
                    <a:pt x="778996" y="194968"/>
                    <a:pt x="781855" y="194253"/>
                    <a:pt x="785428" y="193539"/>
                  </a:cubicBezTo>
                  <a:cubicBezTo>
                    <a:pt x="786143" y="193539"/>
                    <a:pt x="786143" y="193539"/>
                    <a:pt x="786858" y="192825"/>
                  </a:cubicBezTo>
                  <a:cubicBezTo>
                    <a:pt x="790431" y="192111"/>
                    <a:pt x="793290" y="191397"/>
                    <a:pt x="796863" y="190683"/>
                  </a:cubicBezTo>
                  <a:cubicBezTo>
                    <a:pt x="806869" y="187826"/>
                    <a:pt x="816874" y="184255"/>
                    <a:pt x="826880" y="179970"/>
                  </a:cubicBezTo>
                  <a:cubicBezTo>
                    <a:pt x="857611" y="167829"/>
                    <a:pt x="885483" y="149975"/>
                    <a:pt x="909782" y="127122"/>
                  </a:cubicBezTo>
                  <a:cubicBezTo>
                    <a:pt x="916214" y="121408"/>
                    <a:pt x="921931" y="114981"/>
                    <a:pt x="928363" y="108553"/>
                  </a:cubicBezTo>
                  <a:cubicBezTo>
                    <a:pt x="928363" y="108553"/>
                    <a:pt x="928363" y="108553"/>
                    <a:pt x="975532" y="54991"/>
                  </a:cubicBezTo>
                  <a:cubicBezTo>
                    <a:pt x="976961" y="53563"/>
                    <a:pt x="977676" y="52848"/>
                    <a:pt x="978391" y="51420"/>
                  </a:cubicBezTo>
                  <a:cubicBezTo>
                    <a:pt x="979105" y="51420"/>
                    <a:pt x="979105" y="51420"/>
                    <a:pt x="979105" y="51420"/>
                  </a:cubicBezTo>
                  <a:cubicBezTo>
                    <a:pt x="994114" y="36423"/>
                    <a:pt x="1013410" y="27853"/>
                    <a:pt x="1034135" y="26424"/>
                  </a:cubicBezTo>
                  <a:cubicBezTo>
                    <a:pt x="1034850" y="26424"/>
                    <a:pt x="1034850" y="26424"/>
                    <a:pt x="1034850" y="26424"/>
                  </a:cubicBezTo>
                  <a:cubicBezTo>
                    <a:pt x="1036279" y="26424"/>
                    <a:pt x="1037709" y="26424"/>
                    <a:pt x="1039138" y="26424"/>
                  </a:cubicBezTo>
                  <a:cubicBezTo>
                    <a:pt x="1039138" y="26424"/>
                    <a:pt x="1039853" y="26424"/>
                    <a:pt x="1040567" y="26424"/>
                  </a:cubicBezTo>
                  <a:cubicBezTo>
                    <a:pt x="1054146" y="26424"/>
                    <a:pt x="1067725" y="30709"/>
                    <a:pt x="1079875" y="37137"/>
                  </a:cubicBezTo>
                  <a:cubicBezTo>
                    <a:pt x="1081304" y="37851"/>
                    <a:pt x="1082019" y="38565"/>
                    <a:pt x="1083448" y="39279"/>
                  </a:cubicBezTo>
                  <a:cubicBezTo>
                    <a:pt x="1084877" y="39993"/>
                    <a:pt x="1085592" y="40708"/>
                    <a:pt x="1086307" y="40708"/>
                  </a:cubicBezTo>
                  <a:cubicBezTo>
                    <a:pt x="1087021" y="41422"/>
                    <a:pt x="1087021" y="41422"/>
                    <a:pt x="1087021" y="41422"/>
                  </a:cubicBezTo>
                  <a:cubicBezTo>
                    <a:pt x="1087736" y="42136"/>
                    <a:pt x="1089165" y="42850"/>
                    <a:pt x="1089880" y="43564"/>
                  </a:cubicBezTo>
                  <a:cubicBezTo>
                    <a:pt x="1089880" y="43564"/>
                    <a:pt x="1090595" y="44278"/>
                    <a:pt x="1090595" y="44278"/>
                  </a:cubicBezTo>
                  <a:cubicBezTo>
                    <a:pt x="1091309" y="44993"/>
                    <a:pt x="1092024" y="44993"/>
                    <a:pt x="1092739" y="45707"/>
                  </a:cubicBezTo>
                  <a:cubicBezTo>
                    <a:pt x="1093453" y="46421"/>
                    <a:pt x="1094168" y="47135"/>
                    <a:pt x="1095597" y="47849"/>
                  </a:cubicBezTo>
                  <a:cubicBezTo>
                    <a:pt x="1095597" y="47849"/>
                    <a:pt x="1095597" y="48563"/>
                    <a:pt x="1095597" y="48563"/>
                  </a:cubicBezTo>
                  <a:cubicBezTo>
                    <a:pt x="1129902" y="79273"/>
                    <a:pt x="1133475" y="130693"/>
                    <a:pt x="1103459" y="165687"/>
                  </a:cubicBezTo>
                  <a:cubicBezTo>
                    <a:pt x="1103459" y="165687"/>
                    <a:pt x="1103459" y="165687"/>
                    <a:pt x="1072013" y="203538"/>
                  </a:cubicBezTo>
                  <a:cubicBezTo>
                    <a:pt x="1040567" y="239960"/>
                    <a:pt x="1004834" y="272812"/>
                    <a:pt x="966241" y="299950"/>
                  </a:cubicBezTo>
                  <a:cubicBezTo>
                    <a:pt x="963383" y="302092"/>
                    <a:pt x="959809" y="304235"/>
                    <a:pt x="956950" y="306377"/>
                  </a:cubicBezTo>
                  <a:cubicBezTo>
                    <a:pt x="954092" y="308520"/>
                    <a:pt x="951233" y="310662"/>
                    <a:pt x="948374" y="312091"/>
                  </a:cubicBezTo>
                  <a:cubicBezTo>
                    <a:pt x="904779" y="340657"/>
                    <a:pt x="856896" y="363511"/>
                    <a:pt x="806154" y="379222"/>
                  </a:cubicBezTo>
                  <a:cubicBezTo>
                    <a:pt x="801866" y="380651"/>
                    <a:pt x="797578" y="382079"/>
                    <a:pt x="792575" y="383507"/>
                  </a:cubicBezTo>
                  <a:cubicBezTo>
                    <a:pt x="791146" y="383507"/>
                    <a:pt x="789716" y="384222"/>
                    <a:pt x="788287" y="384222"/>
                  </a:cubicBezTo>
                  <a:cubicBezTo>
                    <a:pt x="785428" y="384936"/>
                    <a:pt x="782570" y="386364"/>
                    <a:pt x="779711" y="387078"/>
                  </a:cubicBezTo>
                  <a:cubicBezTo>
                    <a:pt x="777567" y="387078"/>
                    <a:pt x="775423" y="387792"/>
                    <a:pt x="773994" y="388507"/>
                  </a:cubicBezTo>
                  <a:cubicBezTo>
                    <a:pt x="771135" y="389221"/>
                    <a:pt x="768991" y="389221"/>
                    <a:pt x="766132" y="389935"/>
                  </a:cubicBezTo>
                  <a:cubicBezTo>
                    <a:pt x="763988" y="390649"/>
                    <a:pt x="761844" y="391363"/>
                    <a:pt x="759700" y="392077"/>
                  </a:cubicBezTo>
                  <a:cubicBezTo>
                    <a:pt x="757556" y="392077"/>
                    <a:pt x="756127" y="392792"/>
                    <a:pt x="753983" y="392792"/>
                  </a:cubicBezTo>
                  <a:cubicBezTo>
                    <a:pt x="743977" y="394934"/>
                    <a:pt x="733972" y="397077"/>
                    <a:pt x="723966" y="399219"/>
                  </a:cubicBezTo>
                  <a:cubicBezTo>
                    <a:pt x="723252" y="399219"/>
                    <a:pt x="722537" y="399219"/>
                    <a:pt x="721822" y="399219"/>
                  </a:cubicBezTo>
                  <a:cubicBezTo>
                    <a:pt x="718249" y="399933"/>
                    <a:pt x="714676" y="400647"/>
                    <a:pt x="711102" y="401362"/>
                  </a:cubicBezTo>
                  <a:cubicBezTo>
                    <a:pt x="710387" y="401362"/>
                    <a:pt x="710387" y="401362"/>
                    <a:pt x="709673" y="401362"/>
                  </a:cubicBezTo>
                  <a:cubicBezTo>
                    <a:pt x="689662" y="404218"/>
                    <a:pt x="670366" y="406361"/>
                    <a:pt x="650355" y="407789"/>
                  </a:cubicBezTo>
                  <a:cubicBezTo>
                    <a:pt x="649640" y="407789"/>
                    <a:pt x="648925" y="407789"/>
                    <a:pt x="648211" y="407789"/>
                  </a:cubicBezTo>
                  <a:cubicBezTo>
                    <a:pt x="644637" y="407789"/>
                    <a:pt x="641064" y="407789"/>
                    <a:pt x="637491" y="408503"/>
                  </a:cubicBezTo>
                  <a:cubicBezTo>
                    <a:pt x="636776" y="408503"/>
                    <a:pt x="636061" y="408503"/>
                    <a:pt x="635347" y="408503"/>
                  </a:cubicBezTo>
                  <a:cubicBezTo>
                    <a:pt x="631058" y="408503"/>
                    <a:pt x="626056" y="408503"/>
                    <a:pt x="621053" y="408503"/>
                  </a:cubicBezTo>
                  <a:cubicBezTo>
                    <a:pt x="621053" y="408503"/>
                    <a:pt x="620338" y="408503"/>
                    <a:pt x="619624" y="408503"/>
                  </a:cubicBezTo>
                  <a:cubicBezTo>
                    <a:pt x="617480" y="408503"/>
                    <a:pt x="614621" y="408503"/>
                    <a:pt x="612477" y="408503"/>
                  </a:cubicBezTo>
                  <a:cubicBezTo>
                    <a:pt x="610333" y="408503"/>
                    <a:pt x="608189" y="408503"/>
                    <a:pt x="606045" y="408503"/>
                  </a:cubicBezTo>
                  <a:cubicBezTo>
                    <a:pt x="603901" y="408503"/>
                    <a:pt x="601042" y="408503"/>
                    <a:pt x="598898" y="408503"/>
                  </a:cubicBezTo>
                  <a:cubicBezTo>
                    <a:pt x="596754" y="408503"/>
                    <a:pt x="594610" y="408503"/>
                    <a:pt x="592466" y="408503"/>
                  </a:cubicBezTo>
                  <a:cubicBezTo>
                    <a:pt x="589607" y="408503"/>
                    <a:pt x="587463" y="408503"/>
                    <a:pt x="584605" y="407789"/>
                  </a:cubicBezTo>
                  <a:cubicBezTo>
                    <a:pt x="582461" y="407789"/>
                    <a:pt x="581031" y="407789"/>
                    <a:pt x="578887" y="407789"/>
                  </a:cubicBezTo>
                  <a:cubicBezTo>
                    <a:pt x="575314" y="407789"/>
                    <a:pt x="571026" y="407075"/>
                    <a:pt x="566738" y="407075"/>
                  </a:cubicBezTo>
                  <a:cubicBezTo>
                    <a:pt x="566738" y="407075"/>
                    <a:pt x="566023" y="407075"/>
                    <a:pt x="566023" y="407075"/>
                  </a:cubicBezTo>
                  <a:cubicBezTo>
                    <a:pt x="566023" y="407075"/>
                    <a:pt x="566023" y="407075"/>
                    <a:pt x="485265" y="401362"/>
                  </a:cubicBezTo>
                  <a:cubicBezTo>
                    <a:pt x="485265" y="401362"/>
                    <a:pt x="485265" y="401362"/>
                    <a:pt x="416656" y="396362"/>
                  </a:cubicBezTo>
                  <a:cubicBezTo>
                    <a:pt x="415227" y="396362"/>
                    <a:pt x="413083" y="396362"/>
                    <a:pt x="410939" y="396362"/>
                  </a:cubicBezTo>
                  <a:cubicBezTo>
                    <a:pt x="410224" y="396362"/>
                    <a:pt x="408794" y="396362"/>
                    <a:pt x="407365" y="396362"/>
                  </a:cubicBezTo>
                  <a:cubicBezTo>
                    <a:pt x="402362" y="396362"/>
                    <a:pt x="398074" y="397077"/>
                    <a:pt x="393072" y="397791"/>
                  </a:cubicBezTo>
                  <a:cubicBezTo>
                    <a:pt x="391642" y="398505"/>
                    <a:pt x="390213" y="398505"/>
                    <a:pt x="388784" y="398505"/>
                  </a:cubicBezTo>
                  <a:cubicBezTo>
                    <a:pt x="388784" y="399219"/>
                    <a:pt x="388784" y="399219"/>
                    <a:pt x="388784" y="399219"/>
                  </a:cubicBezTo>
                  <a:cubicBezTo>
                    <a:pt x="387354" y="399219"/>
                    <a:pt x="385925" y="399933"/>
                    <a:pt x="384496" y="399933"/>
                  </a:cubicBezTo>
                  <a:cubicBezTo>
                    <a:pt x="384496" y="399933"/>
                    <a:pt x="384496" y="399933"/>
                    <a:pt x="383781" y="400647"/>
                  </a:cubicBezTo>
                  <a:cubicBezTo>
                    <a:pt x="382352" y="400647"/>
                    <a:pt x="380922" y="401362"/>
                    <a:pt x="379493" y="402076"/>
                  </a:cubicBezTo>
                  <a:cubicBezTo>
                    <a:pt x="379493" y="402076"/>
                    <a:pt x="379493" y="402076"/>
                    <a:pt x="21441" y="540624"/>
                  </a:cubicBezTo>
                  <a:cubicBezTo>
                    <a:pt x="20011" y="541338"/>
                    <a:pt x="17867" y="541338"/>
                    <a:pt x="15723" y="541338"/>
                  </a:cubicBezTo>
                  <a:cubicBezTo>
                    <a:pt x="12864" y="541338"/>
                    <a:pt x="10006" y="540624"/>
                    <a:pt x="7147" y="538481"/>
                  </a:cubicBezTo>
                  <a:cubicBezTo>
                    <a:pt x="2859" y="535625"/>
                    <a:pt x="0" y="530626"/>
                    <a:pt x="0" y="525626"/>
                  </a:cubicBezTo>
                  <a:cubicBezTo>
                    <a:pt x="0" y="525626"/>
                    <a:pt x="0" y="525626"/>
                    <a:pt x="0" y="209251"/>
                  </a:cubicBezTo>
                  <a:cubicBezTo>
                    <a:pt x="0" y="203538"/>
                    <a:pt x="3574" y="198538"/>
                    <a:pt x="7862" y="195682"/>
                  </a:cubicBezTo>
                  <a:cubicBezTo>
                    <a:pt x="7862" y="195682"/>
                    <a:pt x="7862" y="195682"/>
                    <a:pt x="310169" y="24282"/>
                  </a:cubicBezTo>
                  <a:cubicBezTo>
                    <a:pt x="311599" y="22853"/>
                    <a:pt x="313743" y="22139"/>
                    <a:pt x="315887" y="21425"/>
                  </a:cubicBezTo>
                  <a:cubicBezTo>
                    <a:pt x="316601" y="20711"/>
                    <a:pt x="317316" y="20711"/>
                    <a:pt x="318031" y="19997"/>
                  </a:cubicBezTo>
                  <a:cubicBezTo>
                    <a:pt x="318745" y="19283"/>
                    <a:pt x="320175" y="18568"/>
                    <a:pt x="320889" y="18568"/>
                  </a:cubicBezTo>
                  <a:cubicBezTo>
                    <a:pt x="322319" y="17854"/>
                    <a:pt x="323033" y="17140"/>
                    <a:pt x="324463" y="17140"/>
                  </a:cubicBezTo>
                  <a:cubicBezTo>
                    <a:pt x="325177" y="16426"/>
                    <a:pt x="325892" y="16426"/>
                    <a:pt x="326607" y="15712"/>
                  </a:cubicBezTo>
                  <a:cubicBezTo>
                    <a:pt x="328036" y="14998"/>
                    <a:pt x="328751" y="14998"/>
                    <a:pt x="330180" y="14283"/>
                  </a:cubicBezTo>
                  <a:cubicBezTo>
                    <a:pt x="330895" y="14283"/>
                    <a:pt x="331610" y="13569"/>
                    <a:pt x="332324" y="13569"/>
                  </a:cubicBezTo>
                  <a:cubicBezTo>
                    <a:pt x="333754" y="12855"/>
                    <a:pt x="335183" y="12141"/>
                    <a:pt x="336612" y="12141"/>
                  </a:cubicBezTo>
                  <a:cubicBezTo>
                    <a:pt x="336612" y="11427"/>
                    <a:pt x="337327" y="11427"/>
                    <a:pt x="338042" y="11427"/>
                  </a:cubicBezTo>
                  <a:cubicBezTo>
                    <a:pt x="339471" y="10713"/>
                    <a:pt x="340900" y="9998"/>
                    <a:pt x="342330" y="9998"/>
                  </a:cubicBezTo>
                  <a:cubicBezTo>
                    <a:pt x="342330" y="9284"/>
                    <a:pt x="343044" y="9284"/>
                    <a:pt x="343759" y="9284"/>
                  </a:cubicBezTo>
                  <a:cubicBezTo>
                    <a:pt x="345188" y="8570"/>
                    <a:pt x="346618" y="8570"/>
                    <a:pt x="348047" y="7856"/>
                  </a:cubicBezTo>
                  <a:cubicBezTo>
                    <a:pt x="348762" y="7856"/>
                    <a:pt x="348762" y="7856"/>
                    <a:pt x="349476" y="7856"/>
                  </a:cubicBezTo>
                  <a:cubicBezTo>
                    <a:pt x="350906" y="7142"/>
                    <a:pt x="352335" y="6428"/>
                    <a:pt x="354479" y="6428"/>
                  </a:cubicBezTo>
                  <a:cubicBezTo>
                    <a:pt x="354479" y="6428"/>
                    <a:pt x="354479" y="5713"/>
                    <a:pt x="354479" y="5713"/>
                  </a:cubicBezTo>
                  <a:cubicBezTo>
                    <a:pt x="363770" y="3571"/>
                    <a:pt x="372346" y="2143"/>
                    <a:pt x="381637" y="1428"/>
                  </a:cubicBezTo>
                  <a:cubicBezTo>
                    <a:pt x="382352" y="714"/>
                    <a:pt x="383066" y="714"/>
                    <a:pt x="383781" y="714"/>
                  </a:cubicBezTo>
                  <a:cubicBezTo>
                    <a:pt x="385210" y="714"/>
                    <a:pt x="385925" y="714"/>
                    <a:pt x="387354" y="714"/>
                  </a:cubicBezTo>
                  <a:cubicBezTo>
                    <a:pt x="388069" y="714"/>
                    <a:pt x="389498" y="714"/>
                    <a:pt x="3902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7" name="Rectangle 66"/>
          <p:cNvSpPr/>
          <p:nvPr/>
        </p:nvSpPr>
        <p:spPr>
          <a:xfrm>
            <a:off x="1926811" y="4044932"/>
            <a:ext cx="1556724" cy="4205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Proactively detect threats</a:t>
            </a:r>
            <a:endParaRPr lang="en-US" sz="1100" dirty="0">
              <a:solidFill>
                <a:srgbClr val="30C1D7"/>
              </a:solidFill>
              <a:latin typeface="+mj-lt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5219902" y="4041458"/>
            <a:ext cx="1556724" cy="4205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Perform smart investigations</a:t>
            </a:r>
            <a:endParaRPr lang="en-US" sz="1100" dirty="0">
              <a:solidFill>
                <a:srgbClr val="30C1D7"/>
              </a:solidFill>
              <a:latin typeface="+mj-lt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8246597" y="4089862"/>
            <a:ext cx="2304068" cy="4205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Real-time alerts from </a:t>
            </a:r>
          </a:p>
          <a:p>
            <a:pPr>
              <a:defRPr/>
            </a:pPr>
            <a:r>
              <a:rPr lang="en-US" sz="1400" dirty="0">
                <a:solidFill>
                  <a:srgbClr val="30C1D7"/>
                </a:solidFill>
                <a:latin typeface="Trebuchet MS" panose="020B0603020202020204"/>
              </a:rPr>
              <a:t>HMI screens &amp; Application</a:t>
            </a:r>
            <a:endParaRPr lang="en-US" sz="1100" dirty="0">
              <a:solidFill>
                <a:srgbClr val="30C1D7"/>
              </a:solidFill>
              <a:latin typeface="+mj-lt"/>
            </a:endParaRPr>
          </a:p>
        </p:txBody>
      </p:sp>
      <p:grpSp>
        <p:nvGrpSpPr>
          <p:cNvPr id="70" name="Group 4">
            <a:extLst>
              <a:ext uri="{FF2B5EF4-FFF2-40B4-BE49-F238E27FC236}">
                <a16:creationId xmlns:a16="http://schemas.microsoft.com/office/drawing/2014/main" id="{C0BDEA9F-595E-42F8-A1D1-5BFD1298BC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41520" y="1692530"/>
            <a:ext cx="612557" cy="613125"/>
            <a:chOff x="1682" y="0"/>
            <a:chExt cx="4316" cy="4320"/>
          </a:xfrm>
        </p:grpSpPr>
        <p:sp>
          <p:nvSpPr>
            <p:cNvPr id="71" name="AutoShape 3">
              <a:extLst>
                <a:ext uri="{FF2B5EF4-FFF2-40B4-BE49-F238E27FC236}">
                  <a16:creationId xmlns:a16="http://schemas.microsoft.com/office/drawing/2014/main" id="{B759E9F5-B3FF-4874-AB2A-AC90FB54F6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72" name="Freeform 5">
              <a:extLst>
                <a:ext uri="{FF2B5EF4-FFF2-40B4-BE49-F238E27FC236}">
                  <a16:creationId xmlns:a16="http://schemas.microsoft.com/office/drawing/2014/main" id="{E69C4815-6E3F-40F1-A7F8-00EFDB1478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" y="698"/>
              <a:ext cx="2996" cy="2895"/>
            </a:xfrm>
            <a:custGeom>
              <a:avLst/>
              <a:gdLst>
                <a:gd name="T0" fmla="*/ 773 w 1599"/>
                <a:gd name="T1" fmla="*/ 467 h 1544"/>
                <a:gd name="T2" fmla="*/ 800 w 1599"/>
                <a:gd name="T3" fmla="*/ 552 h 1544"/>
                <a:gd name="T4" fmla="*/ 682 w 1599"/>
                <a:gd name="T5" fmla="*/ 587 h 1544"/>
                <a:gd name="T6" fmla="*/ 211 w 1599"/>
                <a:gd name="T7" fmla="*/ 308 h 1544"/>
                <a:gd name="T8" fmla="*/ 173 w 1599"/>
                <a:gd name="T9" fmla="*/ 330 h 1544"/>
                <a:gd name="T10" fmla="*/ 21 w 1599"/>
                <a:gd name="T11" fmla="*/ 555 h 1544"/>
                <a:gd name="T12" fmla="*/ 0 w 1599"/>
                <a:gd name="T13" fmla="*/ 393 h 1544"/>
                <a:gd name="T14" fmla="*/ 387 w 1599"/>
                <a:gd name="T15" fmla="*/ 0 h 1544"/>
                <a:gd name="T16" fmla="*/ 774 w 1599"/>
                <a:gd name="T17" fmla="*/ 393 h 1544"/>
                <a:gd name="T18" fmla="*/ 773 w 1599"/>
                <a:gd name="T19" fmla="*/ 467 h 1544"/>
                <a:gd name="T20" fmla="*/ 1599 w 1599"/>
                <a:gd name="T21" fmla="*/ 1530 h 1544"/>
                <a:gd name="T22" fmla="*/ 1573 w 1599"/>
                <a:gd name="T23" fmla="*/ 709 h 1544"/>
                <a:gd name="T24" fmla="*/ 1559 w 1599"/>
                <a:gd name="T25" fmla="*/ 694 h 1544"/>
                <a:gd name="T26" fmla="*/ 948 w 1599"/>
                <a:gd name="T27" fmla="*/ 694 h 1544"/>
                <a:gd name="T28" fmla="*/ 933 w 1599"/>
                <a:gd name="T29" fmla="*/ 709 h 1544"/>
                <a:gd name="T30" fmla="*/ 907 w 1599"/>
                <a:gd name="T31" fmla="*/ 1530 h 1544"/>
                <a:gd name="T32" fmla="*/ 922 w 1599"/>
                <a:gd name="T33" fmla="*/ 1544 h 1544"/>
                <a:gd name="T34" fmla="*/ 1585 w 1599"/>
                <a:gd name="T35" fmla="*/ 1544 h 1544"/>
                <a:gd name="T36" fmla="*/ 1599 w 1599"/>
                <a:gd name="T37" fmla="*/ 1530 h 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99" h="1544">
                  <a:moveTo>
                    <a:pt x="773" y="467"/>
                  </a:moveTo>
                  <a:cubicBezTo>
                    <a:pt x="771" y="488"/>
                    <a:pt x="778" y="520"/>
                    <a:pt x="800" y="552"/>
                  </a:cubicBezTo>
                  <a:cubicBezTo>
                    <a:pt x="800" y="552"/>
                    <a:pt x="720" y="609"/>
                    <a:pt x="682" y="587"/>
                  </a:cubicBezTo>
                  <a:cubicBezTo>
                    <a:pt x="638" y="563"/>
                    <a:pt x="453" y="308"/>
                    <a:pt x="211" y="308"/>
                  </a:cubicBezTo>
                  <a:cubicBezTo>
                    <a:pt x="211" y="308"/>
                    <a:pt x="185" y="323"/>
                    <a:pt x="173" y="330"/>
                  </a:cubicBezTo>
                  <a:cubicBezTo>
                    <a:pt x="64" y="405"/>
                    <a:pt x="59" y="589"/>
                    <a:pt x="21" y="555"/>
                  </a:cubicBezTo>
                  <a:cubicBezTo>
                    <a:pt x="7" y="537"/>
                    <a:pt x="0" y="441"/>
                    <a:pt x="0" y="393"/>
                  </a:cubicBezTo>
                  <a:cubicBezTo>
                    <a:pt x="0" y="176"/>
                    <a:pt x="168" y="0"/>
                    <a:pt x="387" y="0"/>
                  </a:cubicBezTo>
                  <a:cubicBezTo>
                    <a:pt x="606" y="0"/>
                    <a:pt x="774" y="176"/>
                    <a:pt x="774" y="393"/>
                  </a:cubicBezTo>
                  <a:cubicBezTo>
                    <a:pt x="774" y="419"/>
                    <a:pt x="775" y="443"/>
                    <a:pt x="773" y="467"/>
                  </a:cubicBezTo>
                  <a:close/>
                  <a:moveTo>
                    <a:pt x="1599" y="1530"/>
                  </a:moveTo>
                  <a:cubicBezTo>
                    <a:pt x="1573" y="709"/>
                    <a:pt x="1573" y="709"/>
                    <a:pt x="1573" y="709"/>
                  </a:cubicBezTo>
                  <a:cubicBezTo>
                    <a:pt x="1573" y="701"/>
                    <a:pt x="1567" y="694"/>
                    <a:pt x="1559" y="694"/>
                  </a:cubicBezTo>
                  <a:cubicBezTo>
                    <a:pt x="948" y="694"/>
                    <a:pt x="948" y="694"/>
                    <a:pt x="948" y="694"/>
                  </a:cubicBezTo>
                  <a:cubicBezTo>
                    <a:pt x="940" y="694"/>
                    <a:pt x="933" y="701"/>
                    <a:pt x="933" y="709"/>
                  </a:cubicBezTo>
                  <a:cubicBezTo>
                    <a:pt x="907" y="1530"/>
                    <a:pt x="907" y="1530"/>
                    <a:pt x="907" y="1530"/>
                  </a:cubicBezTo>
                  <a:cubicBezTo>
                    <a:pt x="907" y="1538"/>
                    <a:pt x="914" y="1544"/>
                    <a:pt x="922" y="1544"/>
                  </a:cubicBezTo>
                  <a:cubicBezTo>
                    <a:pt x="1585" y="1544"/>
                    <a:pt x="1585" y="1544"/>
                    <a:pt x="1585" y="1544"/>
                  </a:cubicBezTo>
                  <a:cubicBezTo>
                    <a:pt x="1593" y="1544"/>
                    <a:pt x="1599" y="1538"/>
                    <a:pt x="1599" y="1530"/>
                  </a:cubicBezTo>
                  <a:close/>
                </a:path>
              </a:pathLst>
            </a:custGeom>
            <a:solidFill>
              <a:srgbClr val="ED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  <p:sp>
          <p:nvSpPr>
            <p:cNvPr id="73" name="Freeform 6">
              <a:extLst>
                <a:ext uri="{FF2B5EF4-FFF2-40B4-BE49-F238E27FC236}">
                  <a16:creationId xmlns:a16="http://schemas.microsoft.com/office/drawing/2014/main" id="{6E5323DF-6F89-43BA-B6DA-CE1B9DD1A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1547"/>
              <a:ext cx="3480" cy="1817"/>
            </a:xfrm>
            <a:custGeom>
              <a:avLst/>
              <a:gdLst>
                <a:gd name="T0" fmla="*/ 1171 w 1858"/>
                <a:gd name="T1" fmla="*/ 159 h 969"/>
                <a:gd name="T2" fmla="*/ 1116 w 1858"/>
                <a:gd name="T3" fmla="*/ 240 h 969"/>
                <a:gd name="T4" fmla="*/ 990 w 1858"/>
                <a:gd name="T5" fmla="*/ 495 h 969"/>
                <a:gd name="T6" fmla="*/ 984 w 1858"/>
                <a:gd name="T7" fmla="*/ 501 h 969"/>
                <a:gd name="T8" fmla="*/ 984 w 1858"/>
                <a:gd name="T9" fmla="*/ 599 h 969"/>
                <a:gd name="T10" fmla="*/ 940 w 1858"/>
                <a:gd name="T11" fmla="*/ 635 h 969"/>
                <a:gd name="T12" fmla="*/ 940 w 1858"/>
                <a:gd name="T13" fmla="*/ 533 h 969"/>
                <a:gd name="T14" fmla="*/ 778 w 1858"/>
                <a:gd name="T15" fmla="*/ 598 h 969"/>
                <a:gd name="T16" fmla="*/ 632 w 1858"/>
                <a:gd name="T17" fmla="*/ 543 h 969"/>
                <a:gd name="T18" fmla="*/ 632 w 1858"/>
                <a:gd name="T19" fmla="*/ 637 h 969"/>
                <a:gd name="T20" fmla="*/ 588 w 1858"/>
                <a:gd name="T21" fmla="*/ 600 h 969"/>
                <a:gd name="T22" fmla="*/ 588 w 1858"/>
                <a:gd name="T23" fmla="*/ 513 h 969"/>
                <a:gd name="T24" fmla="*/ 566 w 1858"/>
                <a:gd name="T25" fmla="*/ 495 h 969"/>
                <a:gd name="T26" fmla="*/ 441 w 1858"/>
                <a:gd name="T27" fmla="*/ 241 h 969"/>
                <a:gd name="T28" fmla="*/ 381 w 1858"/>
                <a:gd name="T29" fmla="*/ 116 h 969"/>
                <a:gd name="T30" fmla="*/ 383 w 1858"/>
                <a:gd name="T31" fmla="*/ 108 h 969"/>
                <a:gd name="T32" fmla="*/ 395 w 1858"/>
                <a:gd name="T33" fmla="*/ 130 h 969"/>
                <a:gd name="T34" fmla="*/ 428 w 1858"/>
                <a:gd name="T35" fmla="*/ 144 h 969"/>
                <a:gd name="T36" fmla="*/ 465 w 1858"/>
                <a:gd name="T37" fmla="*/ 203 h 969"/>
                <a:gd name="T38" fmla="*/ 478 w 1858"/>
                <a:gd name="T39" fmla="*/ 216 h 969"/>
                <a:gd name="T40" fmla="*/ 595 w 1858"/>
                <a:gd name="T41" fmla="*/ 463 h 969"/>
                <a:gd name="T42" fmla="*/ 778 w 1858"/>
                <a:gd name="T43" fmla="*/ 554 h 969"/>
                <a:gd name="T44" fmla="*/ 961 w 1858"/>
                <a:gd name="T45" fmla="*/ 463 h 969"/>
                <a:gd name="T46" fmla="*/ 1078 w 1858"/>
                <a:gd name="T47" fmla="*/ 216 h 969"/>
                <a:gd name="T48" fmla="*/ 1089 w 1858"/>
                <a:gd name="T49" fmla="*/ 205 h 969"/>
                <a:gd name="T50" fmla="*/ 1118 w 1858"/>
                <a:gd name="T51" fmla="*/ 176 h 969"/>
                <a:gd name="T52" fmla="*/ 1171 w 1858"/>
                <a:gd name="T53" fmla="*/ 159 h 969"/>
                <a:gd name="T54" fmla="*/ 1498 w 1858"/>
                <a:gd name="T55" fmla="*/ 197 h 969"/>
                <a:gd name="T56" fmla="*/ 1656 w 1858"/>
                <a:gd name="T57" fmla="*/ 44 h 969"/>
                <a:gd name="T58" fmla="*/ 1814 w 1858"/>
                <a:gd name="T59" fmla="*/ 197 h 969"/>
                <a:gd name="T60" fmla="*/ 1858 w 1858"/>
                <a:gd name="T61" fmla="*/ 197 h 969"/>
                <a:gd name="T62" fmla="*/ 1799 w 1858"/>
                <a:gd name="T63" fmla="*/ 55 h 969"/>
                <a:gd name="T64" fmla="*/ 1656 w 1858"/>
                <a:gd name="T65" fmla="*/ 0 h 969"/>
                <a:gd name="T66" fmla="*/ 1513 w 1858"/>
                <a:gd name="T67" fmla="*/ 55 h 969"/>
                <a:gd name="T68" fmla="*/ 1454 w 1858"/>
                <a:gd name="T69" fmla="*/ 197 h 969"/>
                <a:gd name="T70" fmla="*/ 1498 w 1858"/>
                <a:gd name="T71" fmla="*/ 197 h 969"/>
                <a:gd name="T72" fmla="*/ 1276 w 1858"/>
                <a:gd name="T73" fmla="*/ 636 h 969"/>
                <a:gd name="T74" fmla="*/ 1039 w 1858"/>
                <a:gd name="T75" fmla="*/ 610 h 969"/>
                <a:gd name="T76" fmla="*/ 791 w 1858"/>
                <a:gd name="T77" fmla="*/ 814 h 969"/>
                <a:gd name="T78" fmla="*/ 780 w 1858"/>
                <a:gd name="T79" fmla="*/ 814 h 969"/>
                <a:gd name="T80" fmla="*/ 531 w 1858"/>
                <a:gd name="T81" fmla="*/ 610 h 969"/>
                <a:gd name="T82" fmla="*/ 194 w 1858"/>
                <a:gd name="T83" fmla="*/ 668 h 969"/>
                <a:gd name="T84" fmla="*/ 5 w 1858"/>
                <a:gd name="T85" fmla="*/ 944 h 969"/>
                <a:gd name="T86" fmla="*/ 23 w 1858"/>
                <a:gd name="T87" fmla="*/ 969 h 969"/>
                <a:gd name="T88" fmla="*/ 1266 w 1858"/>
                <a:gd name="T89" fmla="*/ 969 h 969"/>
                <a:gd name="T90" fmla="*/ 1276 w 1858"/>
                <a:gd name="T91" fmla="*/ 636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8" h="969">
                  <a:moveTo>
                    <a:pt x="1171" y="159"/>
                  </a:moveTo>
                  <a:cubicBezTo>
                    <a:pt x="1166" y="182"/>
                    <a:pt x="1152" y="218"/>
                    <a:pt x="1116" y="240"/>
                  </a:cubicBezTo>
                  <a:cubicBezTo>
                    <a:pt x="1096" y="290"/>
                    <a:pt x="1026" y="464"/>
                    <a:pt x="990" y="495"/>
                  </a:cubicBezTo>
                  <a:cubicBezTo>
                    <a:pt x="988" y="497"/>
                    <a:pt x="986" y="499"/>
                    <a:pt x="984" y="501"/>
                  </a:cubicBezTo>
                  <a:cubicBezTo>
                    <a:pt x="984" y="599"/>
                    <a:pt x="984" y="599"/>
                    <a:pt x="984" y="599"/>
                  </a:cubicBezTo>
                  <a:cubicBezTo>
                    <a:pt x="972" y="609"/>
                    <a:pt x="957" y="621"/>
                    <a:pt x="940" y="635"/>
                  </a:cubicBezTo>
                  <a:cubicBezTo>
                    <a:pt x="940" y="533"/>
                    <a:pt x="940" y="533"/>
                    <a:pt x="940" y="533"/>
                  </a:cubicBezTo>
                  <a:cubicBezTo>
                    <a:pt x="891" y="565"/>
                    <a:pt x="825" y="598"/>
                    <a:pt x="778" y="598"/>
                  </a:cubicBezTo>
                  <a:cubicBezTo>
                    <a:pt x="736" y="598"/>
                    <a:pt x="679" y="571"/>
                    <a:pt x="632" y="543"/>
                  </a:cubicBezTo>
                  <a:cubicBezTo>
                    <a:pt x="632" y="637"/>
                    <a:pt x="632" y="637"/>
                    <a:pt x="632" y="637"/>
                  </a:cubicBezTo>
                  <a:cubicBezTo>
                    <a:pt x="615" y="623"/>
                    <a:pt x="600" y="610"/>
                    <a:pt x="588" y="600"/>
                  </a:cubicBezTo>
                  <a:cubicBezTo>
                    <a:pt x="588" y="513"/>
                    <a:pt x="588" y="513"/>
                    <a:pt x="588" y="513"/>
                  </a:cubicBezTo>
                  <a:cubicBezTo>
                    <a:pt x="579" y="507"/>
                    <a:pt x="572" y="501"/>
                    <a:pt x="566" y="495"/>
                  </a:cubicBezTo>
                  <a:cubicBezTo>
                    <a:pt x="531" y="464"/>
                    <a:pt x="461" y="293"/>
                    <a:pt x="441" y="241"/>
                  </a:cubicBezTo>
                  <a:cubicBezTo>
                    <a:pt x="391" y="215"/>
                    <a:pt x="381" y="142"/>
                    <a:pt x="381" y="116"/>
                  </a:cubicBezTo>
                  <a:cubicBezTo>
                    <a:pt x="381" y="113"/>
                    <a:pt x="382" y="110"/>
                    <a:pt x="383" y="108"/>
                  </a:cubicBezTo>
                  <a:cubicBezTo>
                    <a:pt x="387" y="115"/>
                    <a:pt x="390" y="123"/>
                    <a:pt x="395" y="130"/>
                  </a:cubicBezTo>
                  <a:cubicBezTo>
                    <a:pt x="405" y="143"/>
                    <a:pt x="419" y="144"/>
                    <a:pt x="428" y="144"/>
                  </a:cubicBezTo>
                  <a:cubicBezTo>
                    <a:pt x="433" y="167"/>
                    <a:pt x="444" y="196"/>
                    <a:pt x="465" y="203"/>
                  </a:cubicBezTo>
                  <a:cubicBezTo>
                    <a:pt x="471" y="206"/>
                    <a:pt x="476" y="210"/>
                    <a:pt x="478" y="216"/>
                  </a:cubicBezTo>
                  <a:cubicBezTo>
                    <a:pt x="514" y="307"/>
                    <a:pt x="574" y="443"/>
                    <a:pt x="595" y="463"/>
                  </a:cubicBezTo>
                  <a:cubicBezTo>
                    <a:pt x="631" y="494"/>
                    <a:pt x="727" y="554"/>
                    <a:pt x="778" y="554"/>
                  </a:cubicBezTo>
                  <a:cubicBezTo>
                    <a:pt x="829" y="554"/>
                    <a:pt x="926" y="494"/>
                    <a:pt x="961" y="463"/>
                  </a:cubicBezTo>
                  <a:cubicBezTo>
                    <a:pt x="983" y="443"/>
                    <a:pt x="1043" y="307"/>
                    <a:pt x="1078" y="216"/>
                  </a:cubicBezTo>
                  <a:cubicBezTo>
                    <a:pt x="1080" y="211"/>
                    <a:pt x="1084" y="207"/>
                    <a:pt x="1089" y="205"/>
                  </a:cubicBezTo>
                  <a:cubicBezTo>
                    <a:pt x="1103" y="197"/>
                    <a:pt x="1112" y="187"/>
                    <a:pt x="1118" y="176"/>
                  </a:cubicBezTo>
                  <a:cubicBezTo>
                    <a:pt x="1137" y="173"/>
                    <a:pt x="1155" y="167"/>
                    <a:pt x="1171" y="159"/>
                  </a:cubicBezTo>
                  <a:close/>
                  <a:moveTo>
                    <a:pt x="1498" y="197"/>
                  </a:moveTo>
                  <a:cubicBezTo>
                    <a:pt x="1504" y="104"/>
                    <a:pt x="1565" y="44"/>
                    <a:pt x="1656" y="44"/>
                  </a:cubicBezTo>
                  <a:cubicBezTo>
                    <a:pt x="1748" y="44"/>
                    <a:pt x="1808" y="104"/>
                    <a:pt x="1814" y="197"/>
                  </a:cubicBezTo>
                  <a:cubicBezTo>
                    <a:pt x="1858" y="197"/>
                    <a:pt x="1858" y="197"/>
                    <a:pt x="1858" y="197"/>
                  </a:cubicBezTo>
                  <a:cubicBezTo>
                    <a:pt x="1855" y="140"/>
                    <a:pt x="1835" y="91"/>
                    <a:pt x="1799" y="55"/>
                  </a:cubicBezTo>
                  <a:cubicBezTo>
                    <a:pt x="1763" y="20"/>
                    <a:pt x="1712" y="0"/>
                    <a:pt x="1656" y="0"/>
                  </a:cubicBezTo>
                  <a:cubicBezTo>
                    <a:pt x="1600" y="0"/>
                    <a:pt x="1549" y="20"/>
                    <a:pt x="1513" y="55"/>
                  </a:cubicBezTo>
                  <a:cubicBezTo>
                    <a:pt x="1477" y="91"/>
                    <a:pt x="1457" y="140"/>
                    <a:pt x="1454" y="197"/>
                  </a:cubicBezTo>
                  <a:lnTo>
                    <a:pt x="1498" y="197"/>
                  </a:lnTo>
                  <a:close/>
                  <a:moveTo>
                    <a:pt x="1276" y="636"/>
                  </a:moveTo>
                  <a:cubicBezTo>
                    <a:pt x="1164" y="612"/>
                    <a:pt x="1039" y="610"/>
                    <a:pt x="1039" y="610"/>
                  </a:cubicBezTo>
                  <a:cubicBezTo>
                    <a:pt x="1039" y="610"/>
                    <a:pt x="899" y="727"/>
                    <a:pt x="791" y="814"/>
                  </a:cubicBezTo>
                  <a:cubicBezTo>
                    <a:pt x="787" y="816"/>
                    <a:pt x="783" y="816"/>
                    <a:pt x="780" y="814"/>
                  </a:cubicBezTo>
                  <a:cubicBezTo>
                    <a:pt x="700" y="750"/>
                    <a:pt x="531" y="610"/>
                    <a:pt x="531" y="610"/>
                  </a:cubicBezTo>
                  <a:cubicBezTo>
                    <a:pt x="531" y="610"/>
                    <a:pt x="312" y="613"/>
                    <a:pt x="194" y="668"/>
                  </a:cubicBezTo>
                  <a:cubicBezTo>
                    <a:pt x="98" y="712"/>
                    <a:pt x="29" y="879"/>
                    <a:pt x="5" y="944"/>
                  </a:cubicBezTo>
                  <a:cubicBezTo>
                    <a:pt x="0" y="956"/>
                    <a:pt x="9" y="969"/>
                    <a:pt x="23" y="969"/>
                  </a:cubicBezTo>
                  <a:cubicBezTo>
                    <a:pt x="1266" y="969"/>
                    <a:pt x="1266" y="969"/>
                    <a:pt x="1266" y="969"/>
                  </a:cubicBezTo>
                  <a:lnTo>
                    <a:pt x="1276" y="636"/>
                  </a:lnTo>
                  <a:close/>
                </a:path>
              </a:pathLst>
            </a:custGeom>
            <a:solidFill>
              <a:srgbClr val="A727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6769" tIns="48384" rIns="96769" bIns="48384" numCol="1" anchor="t" anchorCtr="0" compatLnSpc="1">
              <a:prstTxWarp prst="textNoShape">
                <a:avLst/>
              </a:prstTxWarp>
            </a:bodyPr>
            <a:lstStyle/>
            <a:p>
              <a:pPr defTabSz="967644">
                <a:defRPr/>
              </a:pPr>
              <a:endParaRPr lang="en-US" sz="1905" kern="0" dirty="0">
                <a:solidFill>
                  <a:srgbClr val="575757"/>
                </a:solidFill>
                <a:latin typeface="Segoe UI"/>
              </a:endParaRPr>
            </a:p>
          </p:txBody>
        </p:sp>
      </p:grpSp>
      <p:sp>
        <p:nvSpPr>
          <p:cNvPr id="74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5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6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253459" y="2125994"/>
            <a:ext cx="289419" cy="209041"/>
            <a:chOff x="6928025" y="2712595"/>
            <a:chExt cx="659717" cy="476500"/>
          </a:xfrm>
        </p:grpSpPr>
        <p:sp>
          <p:nvSpPr>
            <p:cNvPr id="78" name="Freeform 5">
              <a:extLst>
                <a:ext uri="{FF2B5EF4-FFF2-40B4-BE49-F238E27FC236}">
                  <a16:creationId xmlns:a16="http://schemas.microsoft.com/office/drawing/2014/main" id="{9C946E92-91E1-4AAB-A43B-2AF68167C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8025" y="2712595"/>
              <a:ext cx="659717" cy="476500"/>
            </a:xfrm>
            <a:custGeom>
              <a:avLst/>
              <a:gdLst>
                <a:gd name="T0" fmla="*/ 1716 w 1762"/>
                <a:gd name="T1" fmla="*/ 1534 h 1534"/>
                <a:gd name="T2" fmla="*/ 46 w 1762"/>
                <a:gd name="T3" fmla="*/ 1534 h 1534"/>
                <a:gd name="T4" fmla="*/ 8 w 1762"/>
                <a:gd name="T5" fmla="*/ 1512 h 1534"/>
                <a:gd name="T6" fmla="*/ 8 w 1762"/>
                <a:gd name="T7" fmla="*/ 1468 h 1534"/>
                <a:gd name="T8" fmla="*/ 843 w 1762"/>
                <a:gd name="T9" fmla="*/ 22 h 1534"/>
                <a:gd name="T10" fmla="*/ 881 w 1762"/>
                <a:gd name="T11" fmla="*/ 0 h 1534"/>
                <a:gd name="T12" fmla="*/ 919 w 1762"/>
                <a:gd name="T13" fmla="*/ 22 h 1534"/>
                <a:gd name="T14" fmla="*/ 919 w 1762"/>
                <a:gd name="T15" fmla="*/ 22 h 1534"/>
                <a:gd name="T16" fmla="*/ 1754 w 1762"/>
                <a:gd name="T17" fmla="*/ 1468 h 1534"/>
                <a:gd name="T18" fmla="*/ 1754 w 1762"/>
                <a:gd name="T19" fmla="*/ 1512 h 1534"/>
                <a:gd name="T20" fmla="*/ 1716 w 1762"/>
                <a:gd name="T21" fmla="*/ 1534 h 1534"/>
                <a:gd name="T22" fmla="*/ 881 w 1762"/>
                <a:gd name="T23" fmla="*/ 44 h 1534"/>
                <a:gd name="T24" fmla="*/ 46 w 1762"/>
                <a:gd name="T25" fmla="*/ 1490 h 1534"/>
                <a:gd name="T26" fmla="*/ 1716 w 1762"/>
                <a:gd name="T27" fmla="*/ 1490 h 1534"/>
                <a:gd name="T28" fmla="*/ 881 w 1762"/>
                <a:gd name="T29" fmla="*/ 44 h 1534"/>
                <a:gd name="T30" fmla="*/ 881 w 1762"/>
                <a:gd name="T31" fmla="*/ 44 h 1534"/>
                <a:gd name="T32" fmla="*/ 881 w 1762"/>
                <a:gd name="T33" fmla="*/ 44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2" h="1534">
                  <a:moveTo>
                    <a:pt x="1716" y="1534"/>
                  </a:moveTo>
                  <a:cubicBezTo>
                    <a:pt x="46" y="1534"/>
                    <a:pt x="46" y="1534"/>
                    <a:pt x="46" y="1534"/>
                  </a:cubicBezTo>
                  <a:cubicBezTo>
                    <a:pt x="30" y="1534"/>
                    <a:pt x="16" y="1526"/>
                    <a:pt x="8" y="1512"/>
                  </a:cubicBezTo>
                  <a:cubicBezTo>
                    <a:pt x="0" y="1498"/>
                    <a:pt x="0" y="1482"/>
                    <a:pt x="8" y="1468"/>
                  </a:cubicBezTo>
                  <a:cubicBezTo>
                    <a:pt x="843" y="22"/>
                    <a:pt x="843" y="22"/>
                    <a:pt x="843" y="22"/>
                  </a:cubicBezTo>
                  <a:cubicBezTo>
                    <a:pt x="851" y="8"/>
                    <a:pt x="865" y="0"/>
                    <a:pt x="881" y="0"/>
                  </a:cubicBezTo>
                  <a:cubicBezTo>
                    <a:pt x="897" y="0"/>
                    <a:pt x="911" y="8"/>
                    <a:pt x="919" y="22"/>
                  </a:cubicBezTo>
                  <a:cubicBezTo>
                    <a:pt x="919" y="22"/>
                    <a:pt x="919" y="22"/>
                    <a:pt x="919" y="22"/>
                  </a:cubicBezTo>
                  <a:cubicBezTo>
                    <a:pt x="1754" y="1468"/>
                    <a:pt x="1754" y="1468"/>
                    <a:pt x="1754" y="1468"/>
                  </a:cubicBezTo>
                  <a:cubicBezTo>
                    <a:pt x="1762" y="1482"/>
                    <a:pt x="1762" y="1498"/>
                    <a:pt x="1754" y="1512"/>
                  </a:cubicBezTo>
                  <a:cubicBezTo>
                    <a:pt x="1746" y="1526"/>
                    <a:pt x="1732" y="1534"/>
                    <a:pt x="1716" y="1534"/>
                  </a:cubicBezTo>
                  <a:close/>
                  <a:moveTo>
                    <a:pt x="881" y="44"/>
                  </a:moveTo>
                  <a:cubicBezTo>
                    <a:pt x="46" y="1490"/>
                    <a:pt x="46" y="1490"/>
                    <a:pt x="46" y="1490"/>
                  </a:cubicBezTo>
                  <a:cubicBezTo>
                    <a:pt x="1716" y="1490"/>
                    <a:pt x="1716" y="1490"/>
                    <a:pt x="1716" y="1490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6">
              <a:extLst>
                <a:ext uri="{FF2B5EF4-FFF2-40B4-BE49-F238E27FC236}">
                  <a16:creationId xmlns:a16="http://schemas.microsoft.com/office/drawing/2014/main" id="{E00C2B5B-5FB8-4835-AE91-FBBCFFD6DD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5604" y="2756003"/>
              <a:ext cx="564758" cy="405754"/>
            </a:xfrm>
            <a:custGeom>
              <a:avLst/>
              <a:gdLst>
                <a:gd name="T0" fmla="*/ 1504 w 1508"/>
                <a:gd name="T1" fmla="*/ 1291 h 1306"/>
                <a:gd name="T2" fmla="*/ 763 w 1508"/>
                <a:gd name="T3" fmla="*/ 7 h 1306"/>
                <a:gd name="T4" fmla="*/ 745 w 1508"/>
                <a:gd name="T5" fmla="*/ 7 h 1306"/>
                <a:gd name="T6" fmla="*/ 4 w 1508"/>
                <a:gd name="T7" fmla="*/ 1291 h 1306"/>
                <a:gd name="T8" fmla="*/ 13 w 1508"/>
                <a:gd name="T9" fmla="*/ 1306 h 1306"/>
                <a:gd name="T10" fmla="*/ 1495 w 1508"/>
                <a:gd name="T11" fmla="*/ 1306 h 1306"/>
                <a:gd name="T12" fmla="*/ 1504 w 1508"/>
                <a:gd name="T13" fmla="*/ 1291 h 1306"/>
                <a:gd name="T14" fmla="*/ 694 w 1508"/>
                <a:gd name="T15" fmla="*/ 419 h 1306"/>
                <a:gd name="T16" fmla="*/ 814 w 1508"/>
                <a:gd name="T17" fmla="*/ 419 h 1306"/>
                <a:gd name="T18" fmla="*/ 814 w 1508"/>
                <a:gd name="T19" fmla="*/ 608 h 1306"/>
                <a:gd name="T20" fmla="*/ 778 w 1508"/>
                <a:gd name="T21" fmla="*/ 932 h 1306"/>
                <a:gd name="T22" fmla="*/ 730 w 1508"/>
                <a:gd name="T23" fmla="*/ 932 h 1306"/>
                <a:gd name="T24" fmla="*/ 694 w 1508"/>
                <a:gd name="T25" fmla="*/ 608 h 1306"/>
                <a:gd name="T26" fmla="*/ 694 w 1508"/>
                <a:gd name="T27" fmla="*/ 419 h 1306"/>
                <a:gd name="T28" fmla="*/ 808 w 1508"/>
                <a:gd name="T29" fmla="*/ 1095 h 1306"/>
                <a:gd name="T30" fmla="*/ 755 w 1508"/>
                <a:gd name="T31" fmla="*/ 1117 h 1306"/>
                <a:gd name="T32" fmla="*/ 701 w 1508"/>
                <a:gd name="T33" fmla="*/ 1095 h 1306"/>
                <a:gd name="T34" fmla="*/ 678 w 1508"/>
                <a:gd name="T35" fmla="*/ 1041 h 1306"/>
                <a:gd name="T36" fmla="*/ 701 w 1508"/>
                <a:gd name="T37" fmla="*/ 988 h 1306"/>
                <a:gd name="T38" fmla="*/ 755 w 1508"/>
                <a:gd name="T39" fmla="*/ 965 h 1306"/>
                <a:gd name="T40" fmla="*/ 808 w 1508"/>
                <a:gd name="T41" fmla="*/ 988 h 1306"/>
                <a:gd name="T42" fmla="*/ 830 w 1508"/>
                <a:gd name="T43" fmla="*/ 1041 h 1306"/>
                <a:gd name="T44" fmla="*/ 808 w 1508"/>
                <a:gd name="T45" fmla="*/ 1095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08" h="1306">
                  <a:moveTo>
                    <a:pt x="1504" y="1291"/>
                  </a:moveTo>
                  <a:cubicBezTo>
                    <a:pt x="763" y="7"/>
                    <a:pt x="763" y="7"/>
                    <a:pt x="763" y="7"/>
                  </a:cubicBezTo>
                  <a:cubicBezTo>
                    <a:pt x="759" y="0"/>
                    <a:pt x="749" y="0"/>
                    <a:pt x="745" y="7"/>
                  </a:cubicBezTo>
                  <a:cubicBezTo>
                    <a:pt x="4" y="1291"/>
                    <a:pt x="4" y="1291"/>
                    <a:pt x="4" y="1291"/>
                  </a:cubicBezTo>
                  <a:cubicBezTo>
                    <a:pt x="0" y="1298"/>
                    <a:pt x="5" y="1306"/>
                    <a:pt x="13" y="1306"/>
                  </a:cubicBezTo>
                  <a:cubicBezTo>
                    <a:pt x="1495" y="1306"/>
                    <a:pt x="1495" y="1306"/>
                    <a:pt x="1495" y="1306"/>
                  </a:cubicBezTo>
                  <a:cubicBezTo>
                    <a:pt x="1503" y="1306"/>
                    <a:pt x="1508" y="1298"/>
                    <a:pt x="1504" y="1291"/>
                  </a:cubicBezTo>
                  <a:close/>
                  <a:moveTo>
                    <a:pt x="694" y="419"/>
                  </a:moveTo>
                  <a:cubicBezTo>
                    <a:pt x="814" y="419"/>
                    <a:pt x="814" y="419"/>
                    <a:pt x="814" y="419"/>
                  </a:cubicBezTo>
                  <a:cubicBezTo>
                    <a:pt x="814" y="608"/>
                    <a:pt x="814" y="608"/>
                    <a:pt x="814" y="608"/>
                  </a:cubicBezTo>
                  <a:cubicBezTo>
                    <a:pt x="814" y="669"/>
                    <a:pt x="803" y="778"/>
                    <a:pt x="778" y="932"/>
                  </a:cubicBezTo>
                  <a:cubicBezTo>
                    <a:pt x="730" y="932"/>
                    <a:pt x="730" y="932"/>
                    <a:pt x="730" y="932"/>
                  </a:cubicBezTo>
                  <a:cubicBezTo>
                    <a:pt x="706" y="778"/>
                    <a:pt x="694" y="669"/>
                    <a:pt x="694" y="608"/>
                  </a:cubicBezTo>
                  <a:lnTo>
                    <a:pt x="694" y="419"/>
                  </a:lnTo>
                  <a:close/>
                  <a:moveTo>
                    <a:pt x="808" y="1095"/>
                  </a:moveTo>
                  <a:cubicBezTo>
                    <a:pt x="794" y="1110"/>
                    <a:pt x="776" y="1117"/>
                    <a:pt x="755" y="1117"/>
                  </a:cubicBezTo>
                  <a:cubicBezTo>
                    <a:pt x="733" y="1117"/>
                    <a:pt x="715" y="1110"/>
                    <a:pt x="701" y="1095"/>
                  </a:cubicBezTo>
                  <a:cubicBezTo>
                    <a:pt x="686" y="1080"/>
                    <a:pt x="678" y="1063"/>
                    <a:pt x="678" y="1041"/>
                  </a:cubicBezTo>
                  <a:cubicBezTo>
                    <a:pt x="678" y="1020"/>
                    <a:pt x="686" y="1002"/>
                    <a:pt x="701" y="988"/>
                  </a:cubicBezTo>
                  <a:cubicBezTo>
                    <a:pt x="715" y="973"/>
                    <a:pt x="733" y="965"/>
                    <a:pt x="755" y="965"/>
                  </a:cubicBezTo>
                  <a:cubicBezTo>
                    <a:pt x="776" y="965"/>
                    <a:pt x="794" y="973"/>
                    <a:pt x="808" y="988"/>
                  </a:cubicBezTo>
                  <a:cubicBezTo>
                    <a:pt x="823" y="1002"/>
                    <a:pt x="830" y="1020"/>
                    <a:pt x="830" y="1041"/>
                  </a:cubicBezTo>
                  <a:cubicBezTo>
                    <a:pt x="830" y="1063"/>
                    <a:pt x="823" y="1080"/>
                    <a:pt x="808" y="109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429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464718" cy="387798"/>
          </a:xfrm>
        </p:spPr>
        <p:txBody>
          <a:bodyPr/>
          <a:lstStyle/>
          <a:p>
            <a:r>
              <a:rPr lang="en-US" sz="2800" dirty="0"/>
              <a:t>Health and safety solution for</a:t>
            </a:r>
            <a:r>
              <a:rPr lang="tr-TR" sz="2800" dirty="0"/>
              <a:t> </a:t>
            </a:r>
            <a:r>
              <a:rPr lang="en-US" sz="2800" dirty="0"/>
              <a:t>an FMCG company</a:t>
            </a:r>
            <a:r>
              <a:rPr lang="tr-TR" sz="2800" dirty="0"/>
              <a:t> </a:t>
            </a:r>
            <a:r>
              <a:rPr lang="en-US" sz="2800" dirty="0"/>
              <a:t>factory</a:t>
            </a:r>
            <a:endParaRPr lang="en-GB" sz="2800" dirty="0"/>
          </a:p>
        </p:txBody>
      </p:sp>
      <p:cxnSp>
        <p:nvCxnSpPr>
          <p:cNvPr id="135" name="Straight Connector 134"/>
          <p:cNvCxnSpPr>
            <a:cxnSpLocks/>
          </p:cNvCxnSpPr>
          <p:nvPr/>
        </p:nvCxnSpPr>
        <p:spPr>
          <a:xfrm>
            <a:off x="4059458" y="1829523"/>
            <a:ext cx="10575" cy="4608000"/>
          </a:xfrm>
          <a:prstGeom prst="line">
            <a:avLst/>
          </a:prstGeom>
          <a:ln w="17003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ee4pHeader1"/>
          <p:cNvSpPr txBox="1"/>
          <p:nvPr/>
        </p:nvSpPr>
        <p:spPr>
          <a:xfrm>
            <a:off x="630000" y="4205663"/>
            <a:ext cx="3391667" cy="3240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rosswalk violation detection 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14290" y="4600400"/>
            <a:ext cx="2925457" cy="1899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006" rIns="37800" bIns="4800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afety problem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Violation of crosswalk may cause accidents with very serious consequence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o detect pedestrians not in the pre-defined areas</a:t>
            </a:r>
          </a:p>
        </p:txBody>
      </p:sp>
      <p:cxnSp>
        <p:nvCxnSpPr>
          <p:cNvPr id="40" name="Straight Connector 39"/>
          <p:cNvCxnSpPr>
            <a:cxnSpLocks/>
          </p:cNvCxnSpPr>
          <p:nvPr/>
        </p:nvCxnSpPr>
        <p:spPr>
          <a:xfrm flipH="1">
            <a:off x="8150305" y="1829523"/>
            <a:ext cx="29333" cy="4608000"/>
          </a:xfrm>
          <a:prstGeom prst="line">
            <a:avLst/>
          </a:prstGeom>
          <a:ln w="17003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e4pHeader1"/>
          <p:cNvSpPr txBox="1"/>
          <p:nvPr/>
        </p:nvSpPr>
        <p:spPr>
          <a:xfrm>
            <a:off x="8625735" y="4217394"/>
            <a:ext cx="3391667" cy="3240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andrail violation detection  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531997" y="4612131"/>
            <a:ext cx="2925457" cy="1899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006" rIns="37800" bIns="4800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afety problem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Violation of handrail usage may cause falls on stairway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o detect workers not holding handrails</a:t>
            </a:r>
          </a:p>
        </p:txBody>
      </p:sp>
      <p:sp>
        <p:nvSpPr>
          <p:cNvPr id="44" name="ee4pHeader1"/>
          <p:cNvSpPr txBox="1"/>
          <p:nvPr/>
        </p:nvSpPr>
        <p:spPr>
          <a:xfrm>
            <a:off x="4463312" y="4205663"/>
            <a:ext cx="3391667" cy="3240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tective gloves detection 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4353196" y="4600400"/>
            <a:ext cx="3444750" cy="1899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006" rIns="37800" bIns="4800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afety problem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Not using protective equipment may cause accidents in critical processes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o detect workers not using protective equipment while working such as gloves or helmet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325" y="1901091"/>
            <a:ext cx="2067142" cy="2067142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514291" y="1807625"/>
            <a:ext cx="3307903" cy="22863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7477" y="1807625"/>
            <a:ext cx="3238584" cy="22863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1571" y="1807625"/>
            <a:ext cx="3626529" cy="2286350"/>
          </a:xfrm>
          <a:prstGeom prst="rect">
            <a:avLst/>
          </a:prstGeom>
        </p:spPr>
      </p:pic>
      <p:sp>
        <p:nvSpPr>
          <p:cNvPr id="20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</p:spTree>
    <p:extLst>
      <p:ext uri="{BB962C8B-B14F-4D97-AF65-F5344CB8AC3E}">
        <p14:creationId xmlns:p14="http://schemas.microsoft.com/office/powerpoint/2010/main" val="310923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68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3"/>
          </p:nvPr>
        </p:nvSpPr>
        <p:spPr>
          <a:xfrm>
            <a:off x="5075434" y="2700762"/>
            <a:ext cx="2875200" cy="39006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ata Scientist, KoçDigit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75434" y="2343394"/>
            <a:ext cx="2875200" cy="357368"/>
          </a:xfrm>
        </p:spPr>
        <p:txBody>
          <a:bodyPr/>
          <a:lstStyle/>
          <a:p>
            <a:r>
              <a:rPr lang="tr-TR" b="1" dirty="0" smtClean="0">
                <a:solidFill>
                  <a:schemeClr val="tx1"/>
                </a:solidFill>
              </a:rPr>
              <a:t>Acar Erdinç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" name="ee4pContent1"/>
          <p:cNvSpPr txBox="1"/>
          <p:nvPr>
            <p:custDataLst>
              <p:tags r:id="rId3"/>
            </p:custDataLst>
          </p:nvPr>
        </p:nvSpPr>
        <p:spPr>
          <a:xfrm>
            <a:off x="5075434" y="3744931"/>
            <a:ext cx="6945990" cy="9667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Master’s degree</a:t>
            </a:r>
            <a:r>
              <a:rPr lang="tr-TR" sz="1500" dirty="0">
                <a:solidFill>
                  <a:schemeClr val="tx1">
                    <a:lumMod val="100000"/>
                  </a:schemeClr>
                </a:solidFill>
              </a:rPr>
              <a:t>,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Computer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en-US" sz="1500" dirty="0" smtClean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, Bilkent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University</a:t>
            </a:r>
            <a:endParaRPr lang="tr-TR" sz="1500" dirty="0">
              <a:solidFill>
                <a:schemeClr val="tx1">
                  <a:lumMod val="100000"/>
                </a:schemeClr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endParaRPr lang="tr-TR" sz="1500" dirty="0">
              <a:solidFill>
                <a:schemeClr val="tx1">
                  <a:lumMod val="100000"/>
                </a:schemeClr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</a:rPr>
              <a:t>Bachelor’s degree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,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Computer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Engineering</a:t>
            </a:r>
            <a:r>
              <a:rPr lang="tr-TR" sz="1500" dirty="0" smtClean="0">
                <a:solidFill>
                  <a:schemeClr val="tx1">
                    <a:lumMod val="100000"/>
                  </a:schemeClr>
                </a:solidFill>
              </a:rPr>
              <a:t>, Işık </a:t>
            </a:r>
            <a:r>
              <a:rPr lang="tr-TR" sz="1500" dirty="0" err="1" smtClean="0">
                <a:solidFill>
                  <a:schemeClr val="tx1">
                    <a:lumMod val="100000"/>
                  </a:schemeClr>
                </a:solidFill>
              </a:rPr>
              <a:t>Univeristy</a:t>
            </a:r>
            <a:endParaRPr lang="en-US" sz="15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4" name="ee4pContent1"/>
          <p:cNvSpPr txBox="1"/>
          <p:nvPr>
            <p:custDataLst>
              <p:tags r:id="rId4"/>
            </p:custDataLst>
          </p:nvPr>
        </p:nvSpPr>
        <p:spPr>
          <a:xfrm>
            <a:off x="5075434" y="3430810"/>
            <a:ext cx="6272009" cy="3223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60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sz="1600" dirty="0">
                <a:solidFill>
                  <a:srgbClr val="ED4422"/>
                </a:solidFill>
              </a:rPr>
              <a:t>Educa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498" y="2146350"/>
            <a:ext cx="2480554" cy="2565300"/>
          </a:xfrm>
          <a:prstGeom prst="ellipse">
            <a:avLst/>
          </a:prstGeom>
          <a:solidFill>
            <a:schemeClr val="tx2"/>
          </a:solidFill>
          <a:ln w="25400" cap="rnd">
            <a:solidFill>
              <a:schemeClr val="tx2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54D7E5B-3A16-46B9-997D-0B499D4F67BE}"/>
              </a:ext>
            </a:extLst>
          </p:cNvPr>
          <p:cNvSpPr txBox="1">
            <a:spLocks/>
          </p:cNvSpPr>
          <p:nvPr/>
        </p:nvSpPr>
        <p:spPr>
          <a:xfrm>
            <a:off x="630000" y="622800"/>
            <a:ext cx="10933350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Segoe UI" panose="020B0502040204020203" pitchFamily="34" charset="0"/>
                <a:sym typeface="Trebuchet MS" panose="020B0603020202020204" pitchFamily="34" charset="0"/>
              </a:defRPr>
            </a:lvl1pPr>
          </a:lstStyle>
          <a:p>
            <a:pPr>
              <a:tabLst>
                <a:tab pos="10580688" algn="r"/>
              </a:tabLst>
            </a:pPr>
            <a:r>
              <a:rPr lang="tr-TR" sz="3200" dirty="0" err="1"/>
              <a:t>Introductions</a:t>
            </a:r>
            <a:endParaRPr lang="en-US" sz="3200" dirty="0"/>
          </a:p>
        </p:txBody>
      </p:sp>
      <p:sp>
        <p:nvSpPr>
          <p:cNvPr id="18" name="NavigationText">
            <a:extLst>
              <a:ext uri="{FF2B5EF4-FFF2-40B4-BE49-F238E27FC236}">
                <a16:creationId xmlns:a16="http://schemas.microsoft.com/office/drawing/2014/main" id="{72AC8C9C-B38E-44D2-9693-CDC4EEE339CC}"/>
              </a:ext>
            </a:extLst>
          </p:cNvPr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tr-TR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rPr>
              <a:t>Introductions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75434" y="5025771"/>
            <a:ext cx="5946004" cy="4766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>
                <a:hlinkClick r:id="rId9"/>
              </a:rPr>
              <a:t>https://github.com/acarerdinc/acik_kaynak_platformu</a:t>
            </a:r>
            <a:endParaRPr lang="en-US" dirty="0" err="1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84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>
            <a:extLst>
              <a:ext uri="{FF2B5EF4-FFF2-40B4-BE49-F238E27FC236}">
                <a16:creationId xmlns:a16="http://schemas.microsoft.com/office/drawing/2014/main" id="{2FF8BD7E-7E8C-41B0-9305-96610E99AEE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20" t="13966" r="18524" b="14330"/>
          <a:stretch/>
        </p:blipFill>
        <p:spPr>
          <a:xfrm>
            <a:off x="4591071" y="5077653"/>
            <a:ext cx="2682184" cy="1498089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387798"/>
          </a:xfrm>
        </p:spPr>
        <p:txBody>
          <a:bodyPr/>
          <a:lstStyle/>
          <a:p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en-US" sz="2800" dirty="0"/>
              <a:t>solution for</a:t>
            </a:r>
            <a:r>
              <a:rPr lang="tr-TR" sz="2800" dirty="0"/>
              <a:t> </a:t>
            </a:r>
            <a:r>
              <a:rPr lang="en-US" sz="2800" dirty="0"/>
              <a:t>a </a:t>
            </a:r>
            <a:r>
              <a:rPr lang="tr-TR" sz="2800" dirty="0" err="1"/>
              <a:t>stores</a:t>
            </a:r>
            <a:r>
              <a:rPr lang="tr-TR" sz="2800" dirty="0"/>
              <a:t> </a:t>
            </a:r>
            <a:r>
              <a:rPr lang="tr-TR" sz="2800" dirty="0" err="1"/>
              <a:t>and</a:t>
            </a:r>
            <a:r>
              <a:rPr lang="tr-TR" sz="2800" dirty="0"/>
              <a:t> </a:t>
            </a:r>
            <a:r>
              <a:rPr lang="tr-TR" sz="2800" dirty="0" err="1"/>
              <a:t>malls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93899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Yol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v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3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 detec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ustomer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ep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or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rack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hem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MTCNN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a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lignment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re-train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ep learning model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hic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a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rain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on IMDB-WIKI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atas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for the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gend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72354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IP Camera might not see customer's face because of its angl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.</a:t>
            </a: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r>
              <a:rPr lang="tr-TR" sz="1400" dirty="0">
                <a:solidFill>
                  <a:srgbClr val="29BA74"/>
                </a:solidFill>
                <a:cs typeface="Arial" pitchFamily="34" charset="0"/>
              </a:rPr>
              <a:t>Architecture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en-US" sz="1400" dirty="0">
                <a:solidFill>
                  <a:srgbClr val="FFFFFF"/>
                </a:solidFill>
              </a:rPr>
              <a:t>Area </a:t>
            </a:r>
            <a:r>
              <a:rPr lang="tr-TR" sz="1400" dirty="0">
                <a:solidFill>
                  <a:srgbClr val="FFFFFF"/>
                </a:solidFill>
              </a:rPr>
              <a:t>b</a:t>
            </a:r>
            <a:r>
              <a:rPr lang="en-US" sz="1400" dirty="0" err="1">
                <a:solidFill>
                  <a:srgbClr val="FFFFFF"/>
                </a:solidFill>
              </a:rPr>
              <a:t>ased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tr-TR" sz="1400" dirty="0">
                <a:solidFill>
                  <a:srgbClr val="FFFFFF"/>
                </a:solidFill>
              </a:rPr>
              <a:t>d</a:t>
            </a:r>
            <a:r>
              <a:rPr lang="en-US" sz="1400" dirty="0" err="1">
                <a:solidFill>
                  <a:srgbClr val="FFFFFF"/>
                </a:solidFill>
              </a:rPr>
              <a:t>emography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tr-TR" sz="1400" dirty="0">
                <a:solidFill>
                  <a:srgbClr val="FFFFFF"/>
                </a:solidFill>
              </a:rPr>
              <a:t>a</a:t>
            </a:r>
            <a:r>
              <a:rPr lang="en-US" sz="1400" dirty="0" err="1">
                <a:solidFill>
                  <a:srgbClr val="FFFFFF"/>
                </a:solidFill>
              </a:rPr>
              <a:t>nalysis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raceabl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ustom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journe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te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of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row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rea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0326B660-8DBB-4F76-A8BB-D4C61611AE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bg2">
                <a:lumMod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1" y="4196632"/>
            <a:ext cx="351512" cy="351512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430A0FB-8157-48F7-BEF4-58BA1D1824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983" y="4169685"/>
            <a:ext cx="461386" cy="46138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C0CB81A8-8606-47D2-9D88-F008A9CE54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255" y="4100564"/>
            <a:ext cx="569445" cy="56944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259740D-8D77-4A87-A9A9-785B6FCD906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101" y="5055226"/>
            <a:ext cx="395381" cy="395381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656953A1-4EA1-4B4E-9E17-41FED518D1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520" y="4951125"/>
            <a:ext cx="603582" cy="603582"/>
          </a:xfrm>
          <a:prstGeom prst="rect">
            <a:avLst/>
          </a:prstGeom>
        </p:spPr>
      </p:pic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4911C7C6-3408-495C-ADEF-4377843E74C2}"/>
              </a:ext>
            </a:extLst>
          </p:cNvPr>
          <p:cNvCxnSpPr>
            <a:cxnSpLocks/>
          </p:cNvCxnSpPr>
          <p:nvPr/>
        </p:nvCxnSpPr>
        <p:spPr>
          <a:xfrm>
            <a:off x="1133572" y="4379817"/>
            <a:ext cx="410002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437F8DC4-32AB-4D9A-9D40-707CD1D40E8B}"/>
              </a:ext>
            </a:extLst>
          </p:cNvPr>
          <p:cNvCxnSpPr>
            <a:cxnSpLocks/>
          </p:cNvCxnSpPr>
          <p:nvPr/>
        </p:nvCxnSpPr>
        <p:spPr>
          <a:xfrm>
            <a:off x="3206977" y="4684260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36A0A2E-BBBD-4C03-A6D4-D14D61671AA9}"/>
              </a:ext>
            </a:extLst>
          </p:cNvPr>
          <p:cNvCxnSpPr>
            <a:cxnSpLocks/>
          </p:cNvCxnSpPr>
          <p:nvPr/>
        </p:nvCxnSpPr>
        <p:spPr>
          <a:xfrm>
            <a:off x="2332533" y="4372388"/>
            <a:ext cx="410002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4971EACD-EC27-4670-BD15-15155BFA394E}"/>
              </a:ext>
            </a:extLst>
          </p:cNvPr>
          <p:cNvCxnSpPr>
            <a:cxnSpLocks/>
          </p:cNvCxnSpPr>
          <p:nvPr/>
        </p:nvCxnSpPr>
        <p:spPr>
          <a:xfrm flipH="1">
            <a:off x="2401597" y="5229703"/>
            <a:ext cx="376857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C16DA76C-B793-4013-BAA3-46287B6F40C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29" y="6418159"/>
            <a:ext cx="1181870" cy="31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2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387798"/>
          </a:xfrm>
        </p:spPr>
        <p:txBody>
          <a:bodyPr/>
          <a:lstStyle/>
          <a:p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en-US" sz="2800" dirty="0"/>
              <a:t>solution for</a:t>
            </a:r>
            <a:r>
              <a:rPr lang="tr-TR" sz="2800" dirty="0"/>
              <a:t> </a:t>
            </a:r>
            <a:r>
              <a:rPr lang="en-US" sz="2800" dirty="0"/>
              <a:t>a </a:t>
            </a:r>
            <a:r>
              <a:rPr lang="tr-TR" sz="2800" dirty="0" err="1"/>
              <a:t>stores</a:t>
            </a:r>
            <a:r>
              <a:rPr lang="tr-TR" sz="2800" dirty="0"/>
              <a:t> </a:t>
            </a:r>
            <a:r>
              <a:rPr lang="tr-TR" sz="2800" dirty="0" err="1"/>
              <a:t>and</a:t>
            </a:r>
            <a:r>
              <a:rPr lang="tr-TR" sz="2800" dirty="0"/>
              <a:t> </a:t>
            </a:r>
            <a:r>
              <a:rPr lang="tr-TR" sz="2800" dirty="0" err="1"/>
              <a:t>malls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251779" cy="172354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lib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a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a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ultipl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re-train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ep learning model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gend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Us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pre-train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eep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learning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model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to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sentimen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lassification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29266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B</a:t>
            </a:r>
            <a:r>
              <a:rPr lang="en-US" sz="1400" dirty="0" err="1">
                <a:solidFill>
                  <a:srgbClr val="575757"/>
                </a:solidFill>
                <a:cs typeface="Arial" pitchFamily="34" charset="0"/>
              </a:rPr>
              <a:t>ackg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o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nd light might make fac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darker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r>
              <a:rPr lang="tr-TR" sz="1400" dirty="0">
                <a:solidFill>
                  <a:srgbClr val="29BA74"/>
                </a:solidFill>
                <a:cs typeface="Arial" pitchFamily="34" charset="0"/>
              </a:rPr>
              <a:t>Architecture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50810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>
                <a:solidFill>
                  <a:srgbClr val="FFFFFF"/>
                </a:solidFill>
              </a:rPr>
              <a:t>Reach </a:t>
            </a:r>
            <a:r>
              <a:rPr lang="tr-TR" sz="1400" dirty="0" err="1">
                <a:solidFill>
                  <a:srgbClr val="FFFFFF"/>
                </a:solidFill>
              </a:rPr>
              <a:t>targe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customers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 err="1">
                <a:solidFill>
                  <a:srgbClr val="FFFFFF"/>
                </a:solidFill>
              </a:rPr>
              <a:t>Demographic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based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advertisemen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report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>
                <a:solidFill>
                  <a:srgbClr val="FFFFFF"/>
                </a:solidFill>
              </a:rPr>
              <a:t>A</a:t>
            </a:r>
            <a:r>
              <a:rPr lang="en-US" sz="1400" dirty="0" err="1">
                <a:solidFill>
                  <a:srgbClr val="FFFFFF"/>
                </a:solidFill>
              </a:rPr>
              <a:t>dvertisement</a:t>
            </a:r>
            <a:r>
              <a:rPr lang="en-US" sz="1400" dirty="0">
                <a:solidFill>
                  <a:srgbClr val="FFFFFF"/>
                </a:solidFill>
              </a:rPr>
              <a:t> effect </a:t>
            </a:r>
            <a:r>
              <a:rPr lang="tr-TR" sz="1400" dirty="0" err="1">
                <a:solidFill>
                  <a:srgbClr val="FFFFFF"/>
                </a:solidFill>
              </a:rPr>
              <a:t>analysis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en-US" sz="1400" dirty="0">
                <a:solidFill>
                  <a:srgbClr val="FFFFFF"/>
                </a:solidFill>
              </a:rPr>
              <a:t>on customer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0326B660-8DBB-4F76-A8BB-D4C61611A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bg2">
                <a:lumMod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18" y="3674310"/>
            <a:ext cx="351512" cy="351512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430A0FB-8157-48F7-BEF4-58BA1D1824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63" y="4422585"/>
            <a:ext cx="461386" cy="46138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C0CB81A8-8606-47D2-9D88-F008A9CE54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581" y="3672262"/>
            <a:ext cx="569445" cy="56944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259740D-8D77-4A87-A9A9-785B6FCD90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50" y="4485978"/>
            <a:ext cx="395381" cy="395381"/>
          </a:xfrm>
          <a:prstGeom prst="rect">
            <a:avLst/>
          </a:prstGeom>
        </p:spPr>
      </p:pic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437F8DC4-32AB-4D9A-9D40-707CD1D40E8B}"/>
              </a:ext>
            </a:extLst>
          </p:cNvPr>
          <p:cNvCxnSpPr>
            <a:cxnSpLocks/>
          </p:cNvCxnSpPr>
          <p:nvPr/>
        </p:nvCxnSpPr>
        <p:spPr>
          <a:xfrm>
            <a:off x="916699" y="4108749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36A0A2E-BBBD-4C03-A6D4-D14D61671AA9}"/>
              </a:ext>
            </a:extLst>
          </p:cNvPr>
          <p:cNvCxnSpPr>
            <a:cxnSpLocks/>
          </p:cNvCxnSpPr>
          <p:nvPr/>
        </p:nvCxnSpPr>
        <p:spPr>
          <a:xfrm flipV="1">
            <a:off x="1317015" y="4180784"/>
            <a:ext cx="426471" cy="35325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C16DA76C-B793-4013-BAA3-46287B6F40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29" y="6418159"/>
            <a:ext cx="1181870" cy="315165"/>
          </a:xfrm>
          <a:prstGeom prst="rect">
            <a:avLst/>
          </a:prstGeom>
        </p:spPr>
      </p:pic>
      <p:pic>
        <p:nvPicPr>
          <p:cNvPr id="100" name="Picture 99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id="{DB60E4F5-25A6-472E-82D8-523C3E77208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0" t="15375" r="8518" b="20522"/>
          <a:stretch/>
        </p:blipFill>
        <p:spPr>
          <a:xfrm>
            <a:off x="5472110" y="4639599"/>
            <a:ext cx="2119365" cy="2047709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C90883FC-85DE-4CD2-995B-860D6999B6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90700" y="4639599"/>
            <a:ext cx="1202868" cy="2047709"/>
          </a:xfrm>
          <a:prstGeom prst="rect">
            <a:avLst/>
          </a:prstGeom>
        </p:spPr>
      </p:pic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0789947D-BBFA-49D7-A821-413BA68ED2E3}"/>
              </a:ext>
            </a:extLst>
          </p:cNvPr>
          <p:cNvCxnSpPr>
            <a:cxnSpLocks/>
          </p:cNvCxnSpPr>
          <p:nvPr/>
        </p:nvCxnSpPr>
        <p:spPr>
          <a:xfrm>
            <a:off x="1334092" y="4733115"/>
            <a:ext cx="1494504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7E932BD1-AB19-41D3-A8B5-7E0CCB67A75B}"/>
              </a:ext>
            </a:extLst>
          </p:cNvPr>
          <p:cNvCxnSpPr>
            <a:cxnSpLocks/>
          </p:cNvCxnSpPr>
          <p:nvPr/>
        </p:nvCxnSpPr>
        <p:spPr>
          <a:xfrm>
            <a:off x="2449597" y="4163670"/>
            <a:ext cx="378999" cy="32688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37A3746B-8CF0-44C2-A8B5-03B895AA6598}"/>
              </a:ext>
            </a:extLst>
          </p:cNvPr>
          <p:cNvSpPr/>
          <p:nvPr/>
        </p:nvSpPr>
        <p:spPr>
          <a:xfrm>
            <a:off x="2998988" y="5265199"/>
            <a:ext cx="307198" cy="592414"/>
          </a:xfrm>
          <a:prstGeom prst="roundRect">
            <a:avLst/>
          </a:prstGeom>
          <a:solidFill>
            <a:schemeClr val="bg1"/>
          </a:solidFill>
          <a:ln w="127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37732F9-257D-480A-BA39-5B06293ED1DA}"/>
              </a:ext>
            </a:extLst>
          </p:cNvPr>
          <p:cNvSpPr/>
          <p:nvPr/>
        </p:nvSpPr>
        <p:spPr>
          <a:xfrm>
            <a:off x="3053593" y="4534036"/>
            <a:ext cx="247585" cy="199079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pic>
        <p:nvPicPr>
          <p:cNvPr id="120" name="Picture 119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84736D92-D4C8-499A-B0B2-7455F5771B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921" y="4725802"/>
            <a:ext cx="247585" cy="66023"/>
          </a:xfrm>
          <a:prstGeom prst="rect">
            <a:avLst/>
          </a:prstGeom>
        </p:spPr>
      </p:pic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0C3ABF25-83FF-428B-B2D0-C2E02E58B49A}"/>
              </a:ext>
            </a:extLst>
          </p:cNvPr>
          <p:cNvCxnSpPr>
            <a:cxnSpLocks/>
          </p:cNvCxnSpPr>
          <p:nvPr/>
        </p:nvCxnSpPr>
        <p:spPr>
          <a:xfrm>
            <a:off x="3141180" y="4957435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06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387798"/>
          </a:xfrm>
        </p:spPr>
        <p:txBody>
          <a:bodyPr/>
          <a:lstStyle/>
          <a:p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en-US" sz="2800" dirty="0"/>
              <a:t>solution for</a:t>
            </a:r>
            <a:r>
              <a:rPr lang="tr-TR" sz="2800" dirty="0"/>
              <a:t> </a:t>
            </a:r>
            <a:r>
              <a:rPr lang="en-US" sz="2800" dirty="0"/>
              <a:t>a </a:t>
            </a:r>
            <a:r>
              <a:rPr lang="tr-TR" sz="2800" dirty="0" err="1"/>
              <a:t>stores</a:t>
            </a:r>
            <a:r>
              <a:rPr lang="tr-TR" sz="2800" dirty="0"/>
              <a:t> </a:t>
            </a:r>
            <a:r>
              <a:rPr lang="tr-TR" sz="2800" dirty="0" err="1"/>
              <a:t>and</a:t>
            </a:r>
            <a:r>
              <a:rPr lang="tr-TR" sz="2800" dirty="0"/>
              <a:t> </a:t>
            </a:r>
            <a:r>
              <a:rPr lang="tr-TR" sz="2800" dirty="0" err="1"/>
              <a:t>malls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93899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ollect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an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labeled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data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from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3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ifferen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ars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sed Transfer Learning technique on pre-trained Yolo v3 deep learning model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Our model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work with ~%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85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 accuracy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29266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Simila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object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migh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aus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false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etection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285750" lvl="0" indent="-28575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r>
              <a:rPr lang="tr-TR" sz="1400" dirty="0">
                <a:solidFill>
                  <a:srgbClr val="29BA74"/>
                </a:solidFill>
                <a:cs typeface="Arial" pitchFamily="34" charset="0"/>
              </a:rPr>
              <a:t>Architecture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lvl="0">
              <a:buClr>
                <a:srgbClr val="ED4422"/>
              </a:buClr>
              <a:buSzPct val="100000"/>
              <a:buNone/>
              <a:defRPr/>
            </a:pP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861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lang="tr-TR" sz="1400" dirty="0" err="1">
                <a:solidFill>
                  <a:srgbClr val="FFFFFF"/>
                </a:solidFill>
              </a:rPr>
              <a:t>Intereactive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advertisemen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with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product</a:t>
            </a:r>
            <a:endParaRPr lang="tr-TR" sz="1400" dirty="0">
              <a:solidFill>
                <a:srgbClr val="FFFFFF"/>
              </a:solidFill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lvl="1" indent="0" fontAlgn="base">
              <a:lnSpc>
                <a:spcPct val="100000"/>
              </a:lnSpc>
              <a:spcAft>
                <a:spcPts val="0"/>
              </a:spcAft>
              <a:buClr>
                <a:srgbClr val="FFFFFF"/>
              </a:buClr>
              <a:buSzPct val="100000"/>
              <a:buNone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mot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ustom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duct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0326B660-8DBB-4F76-A8BB-D4C61611A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bg2">
                <a:lumMod val="2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18" y="3674310"/>
            <a:ext cx="351512" cy="351512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430A0FB-8157-48F7-BEF4-58BA1D1824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63" y="4422585"/>
            <a:ext cx="461386" cy="46138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C0CB81A8-8606-47D2-9D88-F008A9CE54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581" y="3672262"/>
            <a:ext cx="569445" cy="56944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259740D-8D77-4A87-A9A9-785B6FCD90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50" y="4485978"/>
            <a:ext cx="395381" cy="395381"/>
          </a:xfrm>
          <a:prstGeom prst="rect">
            <a:avLst/>
          </a:prstGeom>
        </p:spPr>
      </p:pic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437F8DC4-32AB-4D9A-9D40-707CD1D40E8B}"/>
              </a:ext>
            </a:extLst>
          </p:cNvPr>
          <p:cNvCxnSpPr>
            <a:cxnSpLocks/>
          </p:cNvCxnSpPr>
          <p:nvPr/>
        </p:nvCxnSpPr>
        <p:spPr>
          <a:xfrm>
            <a:off x="916699" y="4108749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36A0A2E-BBBD-4C03-A6D4-D14D61671AA9}"/>
              </a:ext>
            </a:extLst>
          </p:cNvPr>
          <p:cNvCxnSpPr>
            <a:cxnSpLocks/>
          </p:cNvCxnSpPr>
          <p:nvPr/>
        </p:nvCxnSpPr>
        <p:spPr>
          <a:xfrm flipV="1">
            <a:off x="1317015" y="4180784"/>
            <a:ext cx="426471" cy="35325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C16DA76C-B793-4013-BAA3-46287B6F40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29" y="6418159"/>
            <a:ext cx="1181870" cy="315165"/>
          </a:xfrm>
          <a:prstGeom prst="rect">
            <a:avLst/>
          </a:prstGeom>
        </p:spPr>
      </p:pic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0789947D-BBFA-49D7-A821-413BA68ED2E3}"/>
              </a:ext>
            </a:extLst>
          </p:cNvPr>
          <p:cNvCxnSpPr>
            <a:cxnSpLocks/>
          </p:cNvCxnSpPr>
          <p:nvPr/>
        </p:nvCxnSpPr>
        <p:spPr>
          <a:xfrm>
            <a:off x="1334092" y="4733115"/>
            <a:ext cx="1494504" cy="0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7E932BD1-AB19-41D3-A8B5-7E0CCB67A75B}"/>
              </a:ext>
            </a:extLst>
          </p:cNvPr>
          <p:cNvCxnSpPr>
            <a:cxnSpLocks/>
          </p:cNvCxnSpPr>
          <p:nvPr/>
        </p:nvCxnSpPr>
        <p:spPr>
          <a:xfrm>
            <a:off x="2449597" y="4163670"/>
            <a:ext cx="378999" cy="326883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37A3746B-8CF0-44C2-A8B5-03B895AA6598}"/>
              </a:ext>
            </a:extLst>
          </p:cNvPr>
          <p:cNvSpPr/>
          <p:nvPr/>
        </p:nvSpPr>
        <p:spPr>
          <a:xfrm rot="16200000">
            <a:off x="2968930" y="5141638"/>
            <a:ext cx="389864" cy="620198"/>
          </a:xfrm>
          <a:prstGeom prst="roundRect">
            <a:avLst/>
          </a:prstGeom>
          <a:solidFill>
            <a:schemeClr val="bg1"/>
          </a:solidFill>
          <a:ln w="1270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37732F9-257D-480A-BA39-5B06293ED1DA}"/>
              </a:ext>
            </a:extLst>
          </p:cNvPr>
          <p:cNvSpPr/>
          <p:nvPr/>
        </p:nvSpPr>
        <p:spPr>
          <a:xfrm>
            <a:off x="3053593" y="4534036"/>
            <a:ext cx="247585" cy="199079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r-TR" sz="1200" dirty="0" err="1">
              <a:solidFill>
                <a:srgbClr val="FFFFFF"/>
              </a:solidFill>
            </a:endParaRPr>
          </a:p>
        </p:txBody>
      </p:sp>
      <p:pic>
        <p:nvPicPr>
          <p:cNvPr id="120" name="Picture 119" descr="A picture containing drawing, star&#10;&#10;Description automatically generated">
            <a:extLst>
              <a:ext uri="{FF2B5EF4-FFF2-40B4-BE49-F238E27FC236}">
                <a16:creationId xmlns:a16="http://schemas.microsoft.com/office/drawing/2014/main" id="{84736D92-D4C8-499A-B0B2-7455F5771B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921" y="4725802"/>
            <a:ext cx="247585" cy="66023"/>
          </a:xfrm>
          <a:prstGeom prst="rect">
            <a:avLst/>
          </a:prstGeom>
        </p:spPr>
      </p:pic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0C3ABF25-83FF-428B-B2D0-C2E02E58B49A}"/>
              </a:ext>
            </a:extLst>
          </p:cNvPr>
          <p:cNvCxnSpPr>
            <a:cxnSpLocks/>
          </p:cNvCxnSpPr>
          <p:nvPr/>
        </p:nvCxnSpPr>
        <p:spPr>
          <a:xfrm>
            <a:off x="3141180" y="4957435"/>
            <a:ext cx="0" cy="231688"/>
          </a:xfrm>
          <a:prstGeom prst="straightConnector1">
            <a:avLst/>
          </a:prstGeom>
          <a:ln w="28575" cap="rnd">
            <a:solidFill>
              <a:schemeClr val="tx2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219EBE5-D1E8-471D-8E09-1AE4435B07C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070"/>
          <a:stretch/>
        </p:blipFill>
        <p:spPr>
          <a:xfrm>
            <a:off x="4888282" y="4774541"/>
            <a:ext cx="1998518" cy="187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38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Health and safety solution for</a:t>
            </a:r>
            <a:r>
              <a:rPr lang="tr-TR" sz="2800" dirty="0"/>
              <a:t> </a:t>
            </a:r>
            <a:r>
              <a:rPr lang="en-US" sz="2800" dirty="0"/>
              <a:t>an steel manufacturer company</a:t>
            </a:r>
            <a:r>
              <a:rPr lang="tr-TR" sz="2800" dirty="0"/>
              <a:t> </a:t>
            </a:r>
            <a:r>
              <a:rPr lang="en-US" sz="2800" dirty="0"/>
              <a:t>factory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93899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 Mask RCNN to detect worker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ed a custom deep learning model for the door’s open/close status and production line’s working/not working statu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Our custom models work with ~%90 accuracy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3447098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ven though customer has cameras on the field, they are not used for real-time monito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No real-time analytics can be run on the current environment, all efforts had to be manua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andomly selected videos may lead to missing out of the HSSE breach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to decrease work accidents caused by manufacturing area process viol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93899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%90+ correct detection in all scenario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nhanced customer safety and security experien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creased momentary false alarms 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nabled real-time monitoring</a:t>
            </a:r>
          </a:p>
        </p:txBody>
      </p:sp>
      <p:pic>
        <p:nvPicPr>
          <p:cNvPr id="411650" name="Picture 2" descr="https://www.borusan.com/_Media/tr/AnnualReports/2018/assets/img/celik/borcelik-2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6506" y="4914757"/>
            <a:ext cx="1867178" cy="182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Straight Arrow Connector 186"/>
          <p:cNvCxnSpPr/>
          <p:nvPr/>
        </p:nvCxnSpPr>
        <p:spPr>
          <a:xfrm>
            <a:off x="6357444" y="5488577"/>
            <a:ext cx="663842" cy="0"/>
          </a:xfrm>
          <a:prstGeom prst="straightConnector1">
            <a:avLst/>
          </a:prstGeom>
          <a:ln w="25400" cap="flat" cmpd="sng" algn="ctr">
            <a:solidFill>
              <a:srgbClr val="37373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186"/>
          <p:cNvCxnSpPr/>
          <p:nvPr/>
        </p:nvCxnSpPr>
        <p:spPr>
          <a:xfrm flipH="1">
            <a:off x="4618904" y="6062398"/>
            <a:ext cx="671580" cy="945"/>
          </a:xfrm>
          <a:prstGeom prst="straightConnector1">
            <a:avLst/>
          </a:prstGeom>
          <a:ln w="25400" cap="flat" cmpd="sng" algn="ctr">
            <a:solidFill>
              <a:srgbClr val="37373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e4pContent2"/>
          <p:cNvSpPr txBox="1"/>
          <p:nvPr/>
        </p:nvSpPr>
        <p:spPr>
          <a:xfrm>
            <a:off x="6934343" y="5057642"/>
            <a:ext cx="929143" cy="36933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o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pen/close</a:t>
            </a:r>
          </a:p>
        </p:txBody>
      </p:sp>
      <p:sp>
        <p:nvSpPr>
          <p:cNvPr id="77" name="ee4pContent2"/>
          <p:cNvSpPr txBox="1"/>
          <p:nvPr/>
        </p:nvSpPr>
        <p:spPr>
          <a:xfrm>
            <a:off x="4055774" y="6131737"/>
            <a:ext cx="929143" cy="36933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d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ctive</a:t>
            </a:r>
          </a:p>
        </p:txBody>
      </p:sp>
      <p:sp>
        <p:nvSpPr>
          <p:cNvPr id="78" name="ee4pContent2"/>
          <p:cNvSpPr txBox="1"/>
          <p:nvPr/>
        </p:nvSpPr>
        <p:spPr>
          <a:xfrm>
            <a:off x="7016521" y="5762405"/>
            <a:ext cx="929143" cy="55399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re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olation check</a:t>
            </a:r>
          </a:p>
        </p:txBody>
      </p:sp>
      <p:cxnSp>
        <p:nvCxnSpPr>
          <p:cNvPr id="79" name="Straight Arrow Connector 186"/>
          <p:cNvCxnSpPr/>
          <p:nvPr/>
        </p:nvCxnSpPr>
        <p:spPr>
          <a:xfrm>
            <a:off x="6553387" y="6370320"/>
            <a:ext cx="663842" cy="0"/>
          </a:xfrm>
          <a:prstGeom prst="straightConnector1">
            <a:avLst/>
          </a:prstGeom>
          <a:ln w="25400" cap="flat" cmpd="sng" algn="ctr">
            <a:solidFill>
              <a:srgbClr val="37373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814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775597"/>
          </a:xfrm>
        </p:spPr>
        <p:txBody>
          <a:bodyPr/>
          <a:lstStyle/>
          <a:p>
            <a:r>
              <a:rPr lang="tr-TR" sz="2800" dirty="0" err="1"/>
              <a:t>Texture</a:t>
            </a:r>
            <a:r>
              <a:rPr lang="tr-TR" sz="2800" dirty="0"/>
              <a:t> </a:t>
            </a:r>
            <a:r>
              <a:rPr lang="tr-TR" sz="2800" dirty="0" err="1"/>
              <a:t>classification</a:t>
            </a:r>
            <a:r>
              <a:rPr lang="tr-TR" sz="2800" dirty="0"/>
              <a:t> </a:t>
            </a:r>
            <a:r>
              <a:rPr lang="tr-TR" sz="2800" dirty="0" err="1"/>
              <a:t>for</a:t>
            </a:r>
            <a:r>
              <a:rPr lang="tr-TR" sz="2800" dirty="0"/>
              <a:t> </a:t>
            </a:r>
            <a:r>
              <a:rPr lang="tr-TR" sz="2800" dirty="0" err="1"/>
              <a:t>wooden</a:t>
            </a:r>
            <a:r>
              <a:rPr lang="tr-TR" sz="2800" dirty="0"/>
              <a:t> panel </a:t>
            </a:r>
            <a:r>
              <a:rPr lang="tr-TR" sz="2800" dirty="0" err="1"/>
              <a:t>industry</a:t>
            </a:r>
            <a:r>
              <a:rPr lang="tr-TR" sz="2800" dirty="0"/>
              <a:t> </a:t>
            </a:r>
            <a:r>
              <a:rPr lang="tr-TR" sz="2800" dirty="0" err="1"/>
              <a:t>company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508105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lgorithm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atter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cogni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ler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ismatc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as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d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vi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it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amera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is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ncrea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obilit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93899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oo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panel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can be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ismatch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sulting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rong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mplementatio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of final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roduc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utomat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atter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atc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wit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video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alytic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egoe UI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s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rom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ismatch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ducts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ast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extu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lassifica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wit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high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ccurac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71396" name="Picture 4" descr="Fig. 6 The retrieval results by matching of combination features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2956" y="4318592"/>
            <a:ext cx="3270617" cy="1587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641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866" y="4300326"/>
            <a:ext cx="1934817" cy="1451113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775597"/>
          </a:xfrm>
        </p:spPr>
        <p:txBody>
          <a:bodyPr/>
          <a:lstStyle/>
          <a:p>
            <a:r>
              <a:rPr lang="tr-TR" sz="2800" dirty="0" err="1"/>
              <a:t>Detection</a:t>
            </a:r>
            <a:r>
              <a:rPr lang="tr-TR" sz="2800" dirty="0"/>
              <a:t> of </a:t>
            </a:r>
            <a:r>
              <a:rPr lang="tr-TR" sz="2800" dirty="0" err="1"/>
              <a:t>damage</a:t>
            </a:r>
            <a:r>
              <a:rPr lang="tr-TR" sz="2800" dirty="0"/>
              <a:t> </a:t>
            </a:r>
            <a:r>
              <a:rPr lang="tr-TR" sz="2800" dirty="0" err="1"/>
              <a:t>severity</a:t>
            </a:r>
            <a:r>
              <a:rPr lang="tr-TR" sz="2800" dirty="0"/>
              <a:t> on </a:t>
            </a:r>
            <a:r>
              <a:rPr lang="tr-TR" sz="2800" dirty="0" err="1"/>
              <a:t>cars</a:t>
            </a:r>
            <a:r>
              <a:rPr lang="tr-TR" sz="2800" dirty="0"/>
              <a:t> </a:t>
            </a:r>
            <a:r>
              <a:rPr lang="tr-TR" sz="2800" dirty="0" err="1"/>
              <a:t>for</a:t>
            </a:r>
            <a:r>
              <a:rPr lang="tr-TR" sz="2800" dirty="0"/>
              <a:t> a car </a:t>
            </a:r>
            <a:r>
              <a:rPr lang="tr-TR" sz="2800" dirty="0" err="1"/>
              <a:t>retail</a:t>
            </a:r>
            <a:r>
              <a:rPr lang="tr-TR" sz="2800" dirty="0"/>
              <a:t> </a:t>
            </a:r>
            <a:r>
              <a:rPr lang="tr-TR" sz="2800" dirty="0" err="1"/>
              <a:t>company</a:t>
            </a:r>
            <a:endParaRPr lang="en-US" sz="2800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292662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sed 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3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ifferen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POC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pproach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signed a custom deep learning model fo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amag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tec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Our custom models work with ~%90 accuracy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2585323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xpe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not a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fiel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mak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cisio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base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on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mag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ake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b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pai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service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oints</a:t>
            </a: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Imag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do no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hav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y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tanda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ake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unde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ifferent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ndition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to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asist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expe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reduc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sp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pa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dem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Segoe UI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150810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at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xpertis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servic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pai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im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ncreas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in car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ntal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ay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tion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sp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ar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nd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labor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st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7695" y="4639961"/>
            <a:ext cx="1934817" cy="14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34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Health and safety solution for</a:t>
            </a:r>
            <a:r>
              <a:rPr lang="tr-TR" sz="2800" dirty="0"/>
              <a:t> </a:t>
            </a:r>
            <a:r>
              <a:rPr lang="en-US" sz="2800" dirty="0"/>
              <a:t>an steel manufacturer company</a:t>
            </a:r>
            <a:r>
              <a:rPr lang="tr-TR" sz="2800" dirty="0"/>
              <a:t> </a:t>
            </a:r>
            <a:r>
              <a:rPr lang="en-US" sz="2800" dirty="0"/>
              <a:t>factory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9546515" y="763553"/>
            <a:ext cx="1135481" cy="1043165"/>
            <a:chOff x="5273801" y="2606040"/>
            <a:chExt cx="1644397" cy="1645920"/>
          </a:xfrm>
        </p:grpSpPr>
        <p:sp>
          <p:nvSpPr>
            <p:cNvPr id="6" name="AutoShape 119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6436614" y="3427476"/>
              <a:ext cx="291084" cy="211455"/>
            </a:xfrm>
            <a:custGeom>
              <a:avLst/>
              <a:gdLst>
                <a:gd name="T0" fmla="*/ 163 w 408"/>
                <a:gd name="T1" fmla="*/ 36 h 296"/>
                <a:gd name="T2" fmla="*/ 0 w 408"/>
                <a:gd name="T3" fmla="*/ 188 h 296"/>
                <a:gd name="T4" fmla="*/ 209 w 408"/>
                <a:gd name="T5" fmla="*/ 139 h 296"/>
                <a:gd name="T6" fmla="*/ 19 w 408"/>
                <a:gd name="T7" fmla="*/ 230 h 296"/>
                <a:gd name="T8" fmla="*/ 235 w 408"/>
                <a:gd name="T9" fmla="*/ 273 h 296"/>
                <a:gd name="T10" fmla="*/ 408 w 408"/>
                <a:gd name="T11" fmla="*/ 90 h 296"/>
                <a:gd name="T12" fmla="*/ 163 w 408"/>
                <a:gd name="T13" fmla="*/ 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8" h="296">
                  <a:moveTo>
                    <a:pt x="163" y="36"/>
                  </a:moveTo>
                  <a:cubicBezTo>
                    <a:pt x="87" y="58"/>
                    <a:pt x="25" y="142"/>
                    <a:pt x="0" y="188"/>
                  </a:cubicBezTo>
                  <a:cubicBezTo>
                    <a:pt x="0" y="188"/>
                    <a:pt x="198" y="113"/>
                    <a:pt x="209" y="139"/>
                  </a:cubicBezTo>
                  <a:cubicBezTo>
                    <a:pt x="220" y="166"/>
                    <a:pt x="19" y="230"/>
                    <a:pt x="19" y="230"/>
                  </a:cubicBezTo>
                  <a:cubicBezTo>
                    <a:pt x="66" y="254"/>
                    <a:pt x="160" y="296"/>
                    <a:pt x="235" y="273"/>
                  </a:cubicBezTo>
                  <a:cubicBezTo>
                    <a:pt x="350" y="238"/>
                    <a:pt x="408" y="90"/>
                    <a:pt x="408" y="90"/>
                  </a:cubicBezTo>
                  <a:cubicBezTo>
                    <a:pt x="408" y="90"/>
                    <a:pt x="279" y="0"/>
                    <a:pt x="163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535674" y="3247644"/>
              <a:ext cx="160020" cy="164973"/>
            </a:xfrm>
            <a:custGeom>
              <a:avLst/>
              <a:gdLst>
                <a:gd name="T0" fmla="*/ 104 w 224"/>
                <a:gd name="T1" fmla="*/ 105 h 231"/>
                <a:gd name="T2" fmla="*/ 31 w 224"/>
                <a:gd name="T3" fmla="*/ 231 h 231"/>
                <a:gd name="T4" fmla="*/ 170 w 224"/>
                <a:gd name="T5" fmla="*/ 171 h 231"/>
                <a:gd name="T6" fmla="*/ 199 w 224"/>
                <a:gd name="T7" fmla="*/ 1 h 231"/>
                <a:gd name="T8" fmla="*/ 38 w 224"/>
                <a:gd name="T9" fmla="*/ 65 h 231"/>
                <a:gd name="T10" fmla="*/ 3 w 224"/>
                <a:gd name="T11" fmla="*/ 215 h 231"/>
                <a:gd name="T12" fmla="*/ 104 w 224"/>
                <a:gd name="T13" fmla="*/ 10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231">
                  <a:moveTo>
                    <a:pt x="104" y="105"/>
                  </a:moveTo>
                  <a:cubicBezTo>
                    <a:pt x="121" y="116"/>
                    <a:pt x="31" y="231"/>
                    <a:pt x="31" y="231"/>
                  </a:cubicBezTo>
                  <a:cubicBezTo>
                    <a:pt x="67" y="226"/>
                    <a:pt x="137" y="214"/>
                    <a:pt x="170" y="171"/>
                  </a:cubicBezTo>
                  <a:cubicBezTo>
                    <a:pt x="224" y="107"/>
                    <a:pt x="199" y="1"/>
                    <a:pt x="199" y="1"/>
                  </a:cubicBezTo>
                  <a:cubicBezTo>
                    <a:pt x="199" y="1"/>
                    <a:pt x="90" y="0"/>
                    <a:pt x="38" y="65"/>
                  </a:cubicBezTo>
                  <a:cubicBezTo>
                    <a:pt x="3" y="107"/>
                    <a:pt x="0" y="178"/>
                    <a:pt x="3" y="215"/>
                  </a:cubicBezTo>
                  <a:cubicBezTo>
                    <a:pt x="3" y="215"/>
                    <a:pt x="87" y="94"/>
                    <a:pt x="104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219444" y="2809113"/>
              <a:ext cx="147066" cy="194310"/>
            </a:xfrm>
            <a:custGeom>
              <a:avLst/>
              <a:gdLst>
                <a:gd name="T0" fmla="*/ 94 w 206"/>
                <a:gd name="T1" fmla="*/ 129 h 272"/>
                <a:gd name="T2" fmla="*/ 68 w 206"/>
                <a:gd name="T3" fmla="*/ 272 h 272"/>
                <a:gd name="T4" fmla="*/ 180 w 206"/>
                <a:gd name="T5" fmla="*/ 169 h 272"/>
                <a:gd name="T6" fmla="*/ 148 w 206"/>
                <a:gd name="T7" fmla="*/ 0 h 272"/>
                <a:gd name="T8" fmla="*/ 18 w 206"/>
                <a:gd name="T9" fmla="*/ 114 h 272"/>
                <a:gd name="T10" fmla="*/ 37 w 206"/>
                <a:gd name="T11" fmla="*/ 266 h 272"/>
                <a:gd name="T12" fmla="*/ 94 w 206"/>
                <a:gd name="T13" fmla="*/ 12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94" y="129"/>
                  </a:moveTo>
                  <a:cubicBezTo>
                    <a:pt x="114" y="134"/>
                    <a:pt x="68" y="272"/>
                    <a:pt x="68" y="272"/>
                  </a:cubicBezTo>
                  <a:cubicBezTo>
                    <a:pt x="101" y="255"/>
                    <a:pt x="161" y="220"/>
                    <a:pt x="180" y="169"/>
                  </a:cubicBezTo>
                  <a:cubicBezTo>
                    <a:pt x="206" y="90"/>
                    <a:pt x="148" y="0"/>
                    <a:pt x="148" y="0"/>
                  </a:cubicBezTo>
                  <a:cubicBezTo>
                    <a:pt x="148" y="0"/>
                    <a:pt x="45" y="36"/>
                    <a:pt x="18" y="114"/>
                  </a:cubicBezTo>
                  <a:cubicBezTo>
                    <a:pt x="0" y="165"/>
                    <a:pt x="22" y="232"/>
                    <a:pt x="37" y="266"/>
                  </a:cubicBezTo>
                  <a:cubicBezTo>
                    <a:pt x="37" y="266"/>
                    <a:pt x="75" y="125"/>
                    <a:pt x="94" y="1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467349" y="3427476"/>
              <a:ext cx="291846" cy="211455"/>
            </a:xfrm>
            <a:custGeom>
              <a:avLst/>
              <a:gdLst>
                <a:gd name="T0" fmla="*/ 198 w 409"/>
                <a:gd name="T1" fmla="*/ 139 h 296"/>
                <a:gd name="T2" fmla="*/ 409 w 409"/>
                <a:gd name="T3" fmla="*/ 188 h 296"/>
                <a:gd name="T4" fmla="*/ 245 w 409"/>
                <a:gd name="T5" fmla="*/ 36 h 296"/>
                <a:gd name="T6" fmla="*/ 0 w 409"/>
                <a:gd name="T7" fmla="*/ 90 h 296"/>
                <a:gd name="T8" fmla="*/ 174 w 409"/>
                <a:gd name="T9" fmla="*/ 273 h 296"/>
                <a:gd name="T10" fmla="*/ 390 w 409"/>
                <a:gd name="T11" fmla="*/ 230 h 296"/>
                <a:gd name="T12" fmla="*/ 198 w 409"/>
                <a:gd name="T13" fmla="*/ 139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96">
                  <a:moveTo>
                    <a:pt x="198" y="139"/>
                  </a:moveTo>
                  <a:cubicBezTo>
                    <a:pt x="211" y="113"/>
                    <a:pt x="409" y="188"/>
                    <a:pt x="409" y="188"/>
                  </a:cubicBezTo>
                  <a:cubicBezTo>
                    <a:pt x="383" y="142"/>
                    <a:pt x="320" y="58"/>
                    <a:pt x="245" y="36"/>
                  </a:cubicBezTo>
                  <a:cubicBezTo>
                    <a:pt x="130" y="0"/>
                    <a:pt x="0" y="90"/>
                    <a:pt x="0" y="90"/>
                  </a:cubicBezTo>
                  <a:cubicBezTo>
                    <a:pt x="0" y="90"/>
                    <a:pt x="58" y="238"/>
                    <a:pt x="174" y="273"/>
                  </a:cubicBezTo>
                  <a:cubicBezTo>
                    <a:pt x="249" y="296"/>
                    <a:pt x="342" y="254"/>
                    <a:pt x="390" y="230"/>
                  </a:cubicBezTo>
                  <a:cubicBezTo>
                    <a:pt x="390" y="230"/>
                    <a:pt x="187" y="166"/>
                    <a:pt x="198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492114" y="3247644"/>
              <a:ext cx="156972" cy="164973"/>
            </a:xfrm>
            <a:custGeom>
              <a:avLst/>
              <a:gdLst>
                <a:gd name="T0" fmla="*/ 190 w 220"/>
                <a:gd name="T1" fmla="*/ 231 h 231"/>
                <a:gd name="T2" fmla="*/ 118 w 220"/>
                <a:gd name="T3" fmla="*/ 105 h 231"/>
                <a:gd name="T4" fmla="*/ 218 w 220"/>
                <a:gd name="T5" fmla="*/ 215 h 231"/>
                <a:gd name="T6" fmla="*/ 183 w 220"/>
                <a:gd name="T7" fmla="*/ 65 h 231"/>
                <a:gd name="T8" fmla="*/ 25 w 220"/>
                <a:gd name="T9" fmla="*/ 1 h 231"/>
                <a:gd name="T10" fmla="*/ 52 w 220"/>
                <a:gd name="T11" fmla="*/ 171 h 231"/>
                <a:gd name="T12" fmla="*/ 190 w 220"/>
                <a:gd name="T1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31">
                  <a:moveTo>
                    <a:pt x="190" y="231"/>
                  </a:moveTo>
                  <a:cubicBezTo>
                    <a:pt x="190" y="231"/>
                    <a:pt x="101" y="116"/>
                    <a:pt x="118" y="105"/>
                  </a:cubicBezTo>
                  <a:cubicBezTo>
                    <a:pt x="135" y="94"/>
                    <a:pt x="218" y="215"/>
                    <a:pt x="218" y="215"/>
                  </a:cubicBezTo>
                  <a:cubicBezTo>
                    <a:pt x="220" y="178"/>
                    <a:pt x="217" y="107"/>
                    <a:pt x="183" y="65"/>
                  </a:cubicBezTo>
                  <a:cubicBezTo>
                    <a:pt x="132" y="0"/>
                    <a:pt x="25" y="1"/>
                    <a:pt x="25" y="1"/>
                  </a:cubicBezTo>
                  <a:cubicBezTo>
                    <a:pt x="25" y="1"/>
                    <a:pt x="0" y="107"/>
                    <a:pt x="52" y="171"/>
                  </a:cubicBezTo>
                  <a:cubicBezTo>
                    <a:pt x="86" y="214"/>
                    <a:pt x="155" y="226"/>
                    <a:pt x="190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28537" y="2809113"/>
              <a:ext cx="146685" cy="194310"/>
            </a:xfrm>
            <a:custGeom>
              <a:avLst/>
              <a:gdLst>
                <a:gd name="T0" fmla="*/ 138 w 206"/>
                <a:gd name="T1" fmla="*/ 272 h 272"/>
                <a:gd name="T2" fmla="*/ 112 w 206"/>
                <a:gd name="T3" fmla="*/ 129 h 272"/>
                <a:gd name="T4" fmla="*/ 170 w 206"/>
                <a:gd name="T5" fmla="*/ 266 h 272"/>
                <a:gd name="T6" fmla="*/ 189 w 206"/>
                <a:gd name="T7" fmla="*/ 114 h 272"/>
                <a:gd name="T8" fmla="*/ 60 w 206"/>
                <a:gd name="T9" fmla="*/ 0 h 272"/>
                <a:gd name="T10" fmla="*/ 27 w 206"/>
                <a:gd name="T11" fmla="*/ 169 h 272"/>
                <a:gd name="T12" fmla="*/ 138 w 206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272">
                  <a:moveTo>
                    <a:pt x="138" y="272"/>
                  </a:moveTo>
                  <a:cubicBezTo>
                    <a:pt x="138" y="272"/>
                    <a:pt x="92" y="134"/>
                    <a:pt x="112" y="129"/>
                  </a:cubicBezTo>
                  <a:cubicBezTo>
                    <a:pt x="131" y="125"/>
                    <a:pt x="170" y="266"/>
                    <a:pt x="170" y="266"/>
                  </a:cubicBezTo>
                  <a:cubicBezTo>
                    <a:pt x="185" y="232"/>
                    <a:pt x="206" y="165"/>
                    <a:pt x="189" y="114"/>
                  </a:cubicBezTo>
                  <a:cubicBezTo>
                    <a:pt x="162" y="36"/>
                    <a:pt x="60" y="0"/>
                    <a:pt x="60" y="0"/>
                  </a:cubicBezTo>
                  <a:cubicBezTo>
                    <a:pt x="60" y="0"/>
                    <a:pt x="0" y="90"/>
                    <a:pt x="27" y="169"/>
                  </a:cubicBezTo>
                  <a:cubicBezTo>
                    <a:pt x="44" y="220"/>
                    <a:pt x="106" y="255"/>
                    <a:pt x="138" y="2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639180" y="3614166"/>
              <a:ext cx="265557" cy="209931"/>
            </a:xfrm>
            <a:custGeom>
              <a:avLst/>
              <a:gdLst>
                <a:gd name="T0" fmla="*/ 236 w 372"/>
                <a:gd name="T1" fmla="*/ 183 h 294"/>
                <a:gd name="T2" fmla="*/ 219 w 372"/>
                <a:gd name="T3" fmla="*/ 185 h 294"/>
                <a:gd name="T4" fmla="*/ 166 w 372"/>
                <a:gd name="T5" fmla="*/ 149 h 294"/>
                <a:gd name="T6" fmla="*/ 165 w 372"/>
                <a:gd name="T7" fmla="*/ 146 h 294"/>
                <a:gd name="T8" fmla="*/ 164 w 372"/>
                <a:gd name="T9" fmla="*/ 142 h 294"/>
                <a:gd name="T10" fmla="*/ 192 w 372"/>
                <a:gd name="T11" fmla="*/ 81 h 294"/>
                <a:gd name="T12" fmla="*/ 194 w 372"/>
                <a:gd name="T13" fmla="*/ 79 h 294"/>
                <a:gd name="T14" fmla="*/ 326 w 372"/>
                <a:gd name="T15" fmla="*/ 25 h 294"/>
                <a:gd name="T16" fmla="*/ 161 w 372"/>
                <a:gd name="T17" fmla="*/ 21 h 294"/>
                <a:gd name="T18" fmla="*/ 0 w 372"/>
                <a:gd name="T19" fmla="*/ 213 h 294"/>
                <a:gd name="T20" fmla="*/ 248 w 372"/>
                <a:gd name="T21" fmla="*/ 251 h 294"/>
                <a:gd name="T22" fmla="*/ 372 w 372"/>
                <a:gd name="T23" fmla="*/ 138 h 294"/>
                <a:gd name="T24" fmla="*/ 236 w 372"/>
                <a:gd name="T25" fmla="*/ 18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294">
                  <a:moveTo>
                    <a:pt x="236" y="183"/>
                  </a:moveTo>
                  <a:cubicBezTo>
                    <a:pt x="230" y="185"/>
                    <a:pt x="225" y="185"/>
                    <a:pt x="219" y="185"/>
                  </a:cubicBezTo>
                  <a:cubicBezTo>
                    <a:pt x="196" y="185"/>
                    <a:pt x="175" y="171"/>
                    <a:pt x="166" y="149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2"/>
                    <a:pt x="164" y="142"/>
                    <a:pt x="164" y="142"/>
                  </a:cubicBezTo>
                  <a:cubicBezTo>
                    <a:pt x="159" y="118"/>
                    <a:pt x="170" y="93"/>
                    <a:pt x="192" y="81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326" y="25"/>
                    <a:pt x="326" y="25"/>
                    <a:pt x="326" y="25"/>
                  </a:cubicBezTo>
                  <a:cubicBezTo>
                    <a:pt x="278" y="10"/>
                    <a:pt x="217" y="0"/>
                    <a:pt x="161" y="21"/>
                  </a:cubicBezTo>
                  <a:cubicBezTo>
                    <a:pt x="49" y="63"/>
                    <a:pt x="0" y="213"/>
                    <a:pt x="0" y="213"/>
                  </a:cubicBezTo>
                  <a:cubicBezTo>
                    <a:pt x="0" y="213"/>
                    <a:pt x="135" y="294"/>
                    <a:pt x="248" y="251"/>
                  </a:cubicBezTo>
                  <a:cubicBezTo>
                    <a:pt x="305" y="230"/>
                    <a:pt x="346" y="181"/>
                    <a:pt x="372" y="138"/>
                  </a:cubicBezTo>
                  <a:lnTo>
                    <a:pt x="23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786246" y="3080385"/>
              <a:ext cx="630174" cy="872871"/>
            </a:xfrm>
            <a:custGeom>
              <a:avLst/>
              <a:gdLst>
                <a:gd name="T0" fmla="*/ 585 w 883"/>
                <a:gd name="T1" fmla="*/ 795 h 1222"/>
                <a:gd name="T2" fmla="*/ 867 w 883"/>
                <a:gd name="T3" fmla="*/ 888 h 1222"/>
                <a:gd name="T4" fmla="*/ 882 w 883"/>
                <a:gd name="T5" fmla="*/ 880 h 1222"/>
                <a:gd name="T6" fmla="*/ 875 w 883"/>
                <a:gd name="T7" fmla="*/ 866 h 1222"/>
                <a:gd name="T8" fmla="*/ 612 w 883"/>
                <a:gd name="T9" fmla="*/ 755 h 1222"/>
                <a:gd name="T10" fmla="*/ 804 w 883"/>
                <a:gd name="T11" fmla="*/ 469 h 1222"/>
                <a:gd name="T12" fmla="*/ 798 w 883"/>
                <a:gd name="T13" fmla="*/ 445 h 1222"/>
                <a:gd name="T14" fmla="*/ 774 w 883"/>
                <a:gd name="T15" fmla="*/ 448 h 1222"/>
                <a:gd name="T16" fmla="*/ 481 w 883"/>
                <a:gd name="T17" fmla="*/ 818 h 1222"/>
                <a:gd name="T18" fmla="*/ 470 w 883"/>
                <a:gd name="T19" fmla="*/ 542 h 1222"/>
                <a:gd name="T20" fmla="*/ 823 w 883"/>
                <a:gd name="T21" fmla="*/ 20 h 1222"/>
                <a:gd name="T22" fmla="*/ 821 w 883"/>
                <a:gd name="T23" fmla="*/ 5 h 1222"/>
                <a:gd name="T24" fmla="*/ 805 w 883"/>
                <a:gd name="T25" fmla="*/ 6 h 1222"/>
                <a:gd name="T26" fmla="*/ 466 w 883"/>
                <a:gd name="T27" fmla="*/ 432 h 1222"/>
                <a:gd name="T28" fmla="*/ 452 w 883"/>
                <a:gd name="T29" fmla="*/ 88 h 1222"/>
                <a:gd name="T30" fmla="*/ 434 w 883"/>
                <a:gd name="T31" fmla="*/ 70 h 1222"/>
                <a:gd name="T32" fmla="*/ 415 w 883"/>
                <a:gd name="T33" fmla="*/ 88 h 1222"/>
                <a:gd name="T34" fmla="*/ 402 w 883"/>
                <a:gd name="T35" fmla="*/ 430 h 1222"/>
                <a:gd name="T36" fmla="*/ 64 w 883"/>
                <a:gd name="T37" fmla="*/ 6 h 1222"/>
                <a:gd name="T38" fmla="*/ 48 w 883"/>
                <a:gd name="T39" fmla="*/ 5 h 1222"/>
                <a:gd name="T40" fmla="*/ 46 w 883"/>
                <a:gd name="T41" fmla="*/ 20 h 1222"/>
                <a:gd name="T42" fmla="*/ 397 w 883"/>
                <a:gd name="T43" fmla="*/ 540 h 1222"/>
                <a:gd name="T44" fmla="*/ 387 w 883"/>
                <a:gd name="T45" fmla="*/ 812 h 1222"/>
                <a:gd name="T46" fmla="*/ 98 w 883"/>
                <a:gd name="T47" fmla="*/ 448 h 1222"/>
                <a:gd name="T48" fmla="*/ 74 w 883"/>
                <a:gd name="T49" fmla="*/ 445 h 1222"/>
                <a:gd name="T50" fmla="*/ 68 w 883"/>
                <a:gd name="T51" fmla="*/ 469 h 1222"/>
                <a:gd name="T52" fmla="*/ 263 w 883"/>
                <a:gd name="T53" fmla="*/ 760 h 1222"/>
                <a:gd name="T54" fmla="*/ 8 w 883"/>
                <a:gd name="T55" fmla="*/ 866 h 1222"/>
                <a:gd name="T56" fmla="*/ 1 w 883"/>
                <a:gd name="T57" fmla="*/ 880 h 1222"/>
                <a:gd name="T58" fmla="*/ 16 w 883"/>
                <a:gd name="T59" fmla="*/ 888 h 1222"/>
                <a:gd name="T60" fmla="*/ 289 w 883"/>
                <a:gd name="T61" fmla="*/ 798 h 1222"/>
                <a:gd name="T62" fmla="*/ 382 w 883"/>
                <a:gd name="T63" fmla="*/ 936 h 1222"/>
                <a:gd name="T64" fmla="*/ 376 w 883"/>
                <a:gd name="T65" fmla="*/ 1106 h 1222"/>
                <a:gd name="T66" fmla="*/ 373 w 883"/>
                <a:gd name="T67" fmla="*/ 1158 h 1222"/>
                <a:gd name="T68" fmla="*/ 373 w 883"/>
                <a:gd name="T69" fmla="*/ 1158 h 1222"/>
                <a:gd name="T70" fmla="*/ 373 w 883"/>
                <a:gd name="T71" fmla="*/ 1163 h 1222"/>
                <a:gd name="T72" fmla="*/ 436 w 883"/>
                <a:gd name="T73" fmla="*/ 1222 h 1222"/>
                <a:gd name="T74" fmla="*/ 495 w 883"/>
                <a:gd name="T75" fmla="*/ 1158 h 1222"/>
                <a:gd name="T76" fmla="*/ 486 w 883"/>
                <a:gd name="T77" fmla="*/ 942 h 1222"/>
                <a:gd name="T78" fmla="*/ 585 w 883"/>
                <a:gd name="T79" fmla="*/ 795 h 1222"/>
                <a:gd name="T80" fmla="*/ 585 w 883"/>
                <a:gd name="T81" fmla="*/ 795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3" h="1222">
                  <a:moveTo>
                    <a:pt x="585" y="795"/>
                  </a:moveTo>
                  <a:cubicBezTo>
                    <a:pt x="867" y="888"/>
                    <a:pt x="867" y="888"/>
                    <a:pt x="867" y="888"/>
                  </a:cubicBezTo>
                  <a:cubicBezTo>
                    <a:pt x="872" y="890"/>
                    <a:pt x="879" y="886"/>
                    <a:pt x="882" y="880"/>
                  </a:cubicBezTo>
                  <a:cubicBezTo>
                    <a:pt x="883" y="874"/>
                    <a:pt x="880" y="869"/>
                    <a:pt x="875" y="866"/>
                  </a:cubicBezTo>
                  <a:cubicBezTo>
                    <a:pt x="612" y="755"/>
                    <a:pt x="612" y="755"/>
                    <a:pt x="612" y="755"/>
                  </a:cubicBezTo>
                  <a:cubicBezTo>
                    <a:pt x="804" y="469"/>
                    <a:pt x="804" y="469"/>
                    <a:pt x="804" y="469"/>
                  </a:cubicBezTo>
                  <a:cubicBezTo>
                    <a:pt x="810" y="462"/>
                    <a:pt x="808" y="450"/>
                    <a:pt x="798" y="445"/>
                  </a:cubicBezTo>
                  <a:cubicBezTo>
                    <a:pt x="791" y="439"/>
                    <a:pt x="780" y="440"/>
                    <a:pt x="774" y="448"/>
                  </a:cubicBezTo>
                  <a:cubicBezTo>
                    <a:pt x="481" y="818"/>
                    <a:pt x="481" y="818"/>
                    <a:pt x="481" y="818"/>
                  </a:cubicBezTo>
                  <a:cubicBezTo>
                    <a:pt x="470" y="542"/>
                    <a:pt x="470" y="542"/>
                    <a:pt x="470" y="542"/>
                  </a:cubicBezTo>
                  <a:cubicBezTo>
                    <a:pt x="823" y="20"/>
                    <a:pt x="823" y="20"/>
                    <a:pt x="823" y="20"/>
                  </a:cubicBezTo>
                  <a:cubicBezTo>
                    <a:pt x="826" y="15"/>
                    <a:pt x="826" y="8"/>
                    <a:pt x="821" y="5"/>
                  </a:cubicBezTo>
                  <a:cubicBezTo>
                    <a:pt x="816" y="0"/>
                    <a:pt x="809" y="1"/>
                    <a:pt x="805" y="6"/>
                  </a:cubicBezTo>
                  <a:cubicBezTo>
                    <a:pt x="466" y="432"/>
                    <a:pt x="466" y="432"/>
                    <a:pt x="466" y="432"/>
                  </a:cubicBezTo>
                  <a:cubicBezTo>
                    <a:pt x="452" y="88"/>
                    <a:pt x="452" y="88"/>
                    <a:pt x="452" y="88"/>
                  </a:cubicBezTo>
                  <a:cubicBezTo>
                    <a:pt x="451" y="78"/>
                    <a:pt x="444" y="70"/>
                    <a:pt x="434" y="70"/>
                  </a:cubicBezTo>
                  <a:cubicBezTo>
                    <a:pt x="424" y="69"/>
                    <a:pt x="416" y="77"/>
                    <a:pt x="415" y="88"/>
                  </a:cubicBezTo>
                  <a:cubicBezTo>
                    <a:pt x="402" y="430"/>
                    <a:pt x="402" y="430"/>
                    <a:pt x="402" y="430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0" y="1"/>
                    <a:pt x="53" y="0"/>
                    <a:pt x="48" y="5"/>
                  </a:cubicBezTo>
                  <a:cubicBezTo>
                    <a:pt x="43" y="8"/>
                    <a:pt x="43" y="15"/>
                    <a:pt x="46" y="20"/>
                  </a:cubicBezTo>
                  <a:cubicBezTo>
                    <a:pt x="397" y="540"/>
                    <a:pt x="397" y="540"/>
                    <a:pt x="397" y="540"/>
                  </a:cubicBezTo>
                  <a:cubicBezTo>
                    <a:pt x="387" y="812"/>
                    <a:pt x="387" y="812"/>
                    <a:pt x="387" y="812"/>
                  </a:cubicBezTo>
                  <a:cubicBezTo>
                    <a:pt x="98" y="448"/>
                    <a:pt x="98" y="448"/>
                    <a:pt x="98" y="448"/>
                  </a:cubicBezTo>
                  <a:cubicBezTo>
                    <a:pt x="92" y="440"/>
                    <a:pt x="82" y="439"/>
                    <a:pt x="74" y="445"/>
                  </a:cubicBezTo>
                  <a:cubicBezTo>
                    <a:pt x="65" y="450"/>
                    <a:pt x="63" y="462"/>
                    <a:pt x="68" y="469"/>
                  </a:cubicBezTo>
                  <a:cubicBezTo>
                    <a:pt x="263" y="760"/>
                    <a:pt x="263" y="760"/>
                    <a:pt x="263" y="760"/>
                  </a:cubicBezTo>
                  <a:cubicBezTo>
                    <a:pt x="8" y="866"/>
                    <a:pt x="8" y="866"/>
                    <a:pt x="8" y="866"/>
                  </a:cubicBezTo>
                  <a:cubicBezTo>
                    <a:pt x="3" y="869"/>
                    <a:pt x="0" y="874"/>
                    <a:pt x="1" y="880"/>
                  </a:cubicBezTo>
                  <a:cubicBezTo>
                    <a:pt x="4" y="886"/>
                    <a:pt x="10" y="890"/>
                    <a:pt x="16" y="888"/>
                  </a:cubicBezTo>
                  <a:cubicBezTo>
                    <a:pt x="289" y="798"/>
                    <a:pt x="289" y="798"/>
                    <a:pt x="289" y="798"/>
                  </a:cubicBezTo>
                  <a:cubicBezTo>
                    <a:pt x="382" y="936"/>
                    <a:pt x="382" y="936"/>
                    <a:pt x="382" y="936"/>
                  </a:cubicBezTo>
                  <a:cubicBezTo>
                    <a:pt x="376" y="1106"/>
                    <a:pt x="376" y="1106"/>
                    <a:pt x="376" y="1106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58"/>
                    <a:pt x="373" y="1158"/>
                    <a:pt x="373" y="1158"/>
                  </a:cubicBezTo>
                  <a:cubicBezTo>
                    <a:pt x="373" y="1160"/>
                    <a:pt x="373" y="1162"/>
                    <a:pt x="373" y="1163"/>
                  </a:cubicBezTo>
                  <a:cubicBezTo>
                    <a:pt x="375" y="1197"/>
                    <a:pt x="403" y="1222"/>
                    <a:pt x="436" y="1222"/>
                  </a:cubicBezTo>
                  <a:cubicBezTo>
                    <a:pt x="470" y="1220"/>
                    <a:pt x="496" y="1192"/>
                    <a:pt x="495" y="1158"/>
                  </a:cubicBezTo>
                  <a:cubicBezTo>
                    <a:pt x="486" y="942"/>
                    <a:pt x="486" y="942"/>
                    <a:pt x="486" y="942"/>
                  </a:cubicBezTo>
                  <a:cubicBezTo>
                    <a:pt x="585" y="795"/>
                    <a:pt x="585" y="795"/>
                    <a:pt x="585" y="795"/>
                  </a:cubicBezTo>
                  <a:cubicBezTo>
                    <a:pt x="585" y="795"/>
                    <a:pt x="585" y="795"/>
                    <a:pt x="585" y="7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461634" y="360768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466587" y="3385566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527166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620511" y="3073908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700521" y="2868930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584316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468492" y="3704844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545835" y="3661029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6 w 72"/>
                <a:gd name="T3" fmla="*/ 72 h 72"/>
                <a:gd name="T4" fmla="*/ 0 w 72"/>
                <a:gd name="T5" fmla="*/ 36 h 72"/>
                <a:gd name="T6" fmla="*/ 36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6" y="72"/>
                  </a:cubicBezTo>
                  <a:cubicBezTo>
                    <a:pt x="17" y="72"/>
                    <a:pt x="0" y="55"/>
                    <a:pt x="0" y="36"/>
                  </a:cubicBezTo>
                  <a:cubicBezTo>
                    <a:pt x="0" y="15"/>
                    <a:pt x="17" y="0"/>
                    <a:pt x="36" y="0"/>
                  </a:cubicBezTo>
                  <a:cubicBezTo>
                    <a:pt x="56" y="0"/>
                    <a:pt x="72" y="15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5570600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72530" y="2886075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6"/>
                    <a:pt x="56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943980" y="2776728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988176" y="2854071"/>
              <a:ext cx="51435" cy="51435"/>
            </a:xfrm>
            <a:custGeom>
              <a:avLst/>
              <a:gdLst>
                <a:gd name="T0" fmla="*/ 72 w 72"/>
                <a:gd name="T1" fmla="*/ 36 h 72"/>
                <a:gd name="T2" fmla="*/ 35 w 72"/>
                <a:gd name="T3" fmla="*/ 72 h 72"/>
                <a:gd name="T4" fmla="*/ 0 w 72"/>
                <a:gd name="T5" fmla="*/ 36 h 72"/>
                <a:gd name="T6" fmla="*/ 35 w 72"/>
                <a:gd name="T7" fmla="*/ 0 h 72"/>
                <a:gd name="T8" fmla="*/ 72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72" y="36"/>
                  </a:moveTo>
                  <a:cubicBezTo>
                    <a:pt x="72" y="55"/>
                    <a:pt x="56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6020180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680454" y="360768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675501" y="3385566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>
              <a:off x="6614922" y="3099816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>
              <a:off x="6521577" y="3073908"/>
              <a:ext cx="51054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441567" y="2868930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6557772" y="3156204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673596" y="3704844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596253" y="3661029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6 w 72"/>
                <a:gd name="T3" fmla="*/ 72 h 72"/>
                <a:gd name="T4" fmla="*/ 72 w 72"/>
                <a:gd name="T5" fmla="*/ 36 h 72"/>
                <a:gd name="T6" fmla="*/ 36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6" y="72"/>
                  </a:cubicBezTo>
                  <a:cubicBezTo>
                    <a:pt x="55" y="72"/>
                    <a:pt x="72" y="55"/>
                    <a:pt x="72" y="36"/>
                  </a:cubicBezTo>
                  <a:cubicBezTo>
                    <a:pt x="72" y="15"/>
                    <a:pt x="55" y="0"/>
                    <a:pt x="36" y="0"/>
                  </a:cubicBezTo>
                  <a:cubicBezTo>
                    <a:pt x="16" y="0"/>
                    <a:pt x="0" y="15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6571488" y="30175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69558" y="2886075"/>
              <a:ext cx="51054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6"/>
                    <a:pt x="16" y="72"/>
                    <a:pt x="37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198108" y="2776728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6153912" y="2854071"/>
              <a:ext cx="51435" cy="51435"/>
            </a:xfrm>
            <a:custGeom>
              <a:avLst/>
              <a:gdLst>
                <a:gd name="T0" fmla="*/ 0 w 72"/>
                <a:gd name="T1" fmla="*/ 36 h 72"/>
                <a:gd name="T2" fmla="*/ 37 w 72"/>
                <a:gd name="T3" fmla="*/ 72 h 72"/>
                <a:gd name="T4" fmla="*/ 72 w 72"/>
                <a:gd name="T5" fmla="*/ 36 h 72"/>
                <a:gd name="T6" fmla="*/ 37 w 72"/>
                <a:gd name="T7" fmla="*/ 0 h 72"/>
                <a:gd name="T8" fmla="*/ 0 w 72"/>
                <a:gd name="T9" fmla="*/ 3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0" y="36"/>
                  </a:moveTo>
                  <a:cubicBezTo>
                    <a:pt x="0" y="55"/>
                    <a:pt x="16" y="72"/>
                    <a:pt x="37" y="72"/>
                  </a:cubicBezTo>
                  <a:cubicBezTo>
                    <a:pt x="56" y="72"/>
                    <a:pt x="72" y="55"/>
                    <a:pt x="72" y="36"/>
                  </a:cubicBezTo>
                  <a:cubicBezTo>
                    <a:pt x="72" y="16"/>
                    <a:pt x="56" y="0"/>
                    <a:pt x="37" y="0"/>
                  </a:cubicBezTo>
                  <a:cubicBezTo>
                    <a:pt x="16" y="0"/>
                    <a:pt x="0" y="16"/>
                    <a:pt x="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6121527" y="2788920"/>
              <a:ext cx="51435" cy="514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677661" y="3228975"/>
              <a:ext cx="291846" cy="315087"/>
            </a:xfrm>
            <a:custGeom>
              <a:avLst/>
              <a:gdLst>
                <a:gd name="T0" fmla="*/ 288 w 409"/>
                <a:gd name="T1" fmla="*/ 441 h 441"/>
                <a:gd name="T2" fmla="*/ 184 w 409"/>
                <a:gd name="T3" fmla="*/ 286 h 441"/>
                <a:gd name="T4" fmla="*/ 174 w 409"/>
                <a:gd name="T5" fmla="*/ 240 h 441"/>
                <a:gd name="T6" fmla="*/ 202 w 409"/>
                <a:gd name="T7" fmla="*/ 200 h 441"/>
                <a:gd name="T8" fmla="*/ 236 w 409"/>
                <a:gd name="T9" fmla="*/ 189 h 441"/>
                <a:gd name="T10" fmla="*/ 285 w 409"/>
                <a:gd name="T11" fmla="*/ 213 h 441"/>
                <a:gd name="T12" fmla="*/ 405 w 409"/>
                <a:gd name="T13" fmla="*/ 364 h 441"/>
                <a:gd name="T14" fmla="*/ 352 w 409"/>
                <a:gd name="T15" fmla="*/ 134 h 441"/>
                <a:gd name="T16" fmla="*/ 55 w 409"/>
                <a:gd name="T17" fmla="*/ 0 h 441"/>
                <a:gd name="T18" fmla="*/ 93 w 409"/>
                <a:gd name="T19" fmla="*/ 323 h 441"/>
                <a:gd name="T20" fmla="*/ 288 w 409"/>
                <a:gd name="T21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441">
                  <a:moveTo>
                    <a:pt x="288" y="441"/>
                  </a:moveTo>
                  <a:cubicBezTo>
                    <a:pt x="184" y="286"/>
                    <a:pt x="184" y="286"/>
                    <a:pt x="184" y="286"/>
                  </a:cubicBezTo>
                  <a:cubicBezTo>
                    <a:pt x="175" y="273"/>
                    <a:pt x="171" y="256"/>
                    <a:pt x="174" y="240"/>
                  </a:cubicBezTo>
                  <a:cubicBezTo>
                    <a:pt x="178" y="224"/>
                    <a:pt x="187" y="209"/>
                    <a:pt x="202" y="200"/>
                  </a:cubicBezTo>
                  <a:cubicBezTo>
                    <a:pt x="212" y="193"/>
                    <a:pt x="224" y="189"/>
                    <a:pt x="236" y="189"/>
                  </a:cubicBezTo>
                  <a:cubicBezTo>
                    <a:pt x="255" y="189"/>
                    <a:pt x="273" y="198"/>
                    <a:pt x="285" y="213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9" y="296"/>
                    <a:pt x="403" y="204"/>
                    <a:pt x="352" y="134"/>
                  </a:cubicBezTo>
                  <a:cubicBezTo>
                    <a:pt x="259" y="8"/>
                    <a:pt x="55" y="0"/>
                    <a:pt x="55" y="0"/>
                  </a:cubicBezTo>
                  <a:cubicBezTo>
                    <a:pt x="55" y="0"/>
                    <a:pt x="0" y="197"/>
                    <a:pt x="93" y="323"/>
                  </a:cubicBezTo>
                  <a:cubicBezTo>
                    <a:pt x="142" y="390"/>
                    <a:pt x="223" y="424"/>
                    <a:pt x="288" y="4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96330" y="2956179"/>
              <a:ext cx="224028" cy="240030"/>
            </a:xfrm>
            <a:custGeom>
              <a:avLst/>
              <a:gdLst>
                <a:gd name="T0" fmla="*/ 215 w 314"/>
                <a:gd name="T1" fmla="*/ 336 h 336"/>
                <a:gd name="T2" fmla="*/ 135 w 314"/>
                <a:gd name="T3" fmla="*/ 218 h 336"/>
                <a:gd name="T4" fmla="*/ 135 w 314"/>
                <a:gd name="T5" fmla="*/ 217 h 336"/>
                <a:gd name="T6" fmla="*/ 146 w 314"/>
                <a:gd name="T7" fmla="*/ 145 h 336"/>
                <a:gd name="T8" fmla="*/ 182 w 314"/>
                <a:gd name="T9" fmla="*/ 132 h 336"/>
                <a:gd name="T10" fmla="*/ 225 w 314"/>
                <a:gd name="T11" fmla="*/ 153 h 336"/>
                <a:gd name="T12" fmla="*/ 313 w 314"/>
                <a:gd name="T13" fmla="*/ 263 h 336"/>
                <a:gd name="T14" fmla="*/ 271 w 314"/>
                <a:gd name="T15" fmla="*/ 102 h 336"/>
                <a:gd name="T16" fmla="*/ 42 w 314"/>
                <a:gd name="T17" fmla="*/ 0 h 336"/>
                <a:gd name="T18" fmla="*/ 73 w 314"/>
                <a:gd name="T19" fmla="*/ 248 h 336"/>
                <a:gd name="T20" fmla="*/ 215 w 314"/>
                <a:gd name="T2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215" y="336"/>
                  </a:moveTo>
                  <a:cubicBezTo>
                    <a:pt x="135" y="218"/>
                    <a:pt x="135" y="218"/>
                    <a:pt x="135" y="218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20" y="193"/>
                    <a:pt x="124" y="163"/>
                    <a:pt x="146" y="145"/>
                  </a:cubicBezTo>
                  <a:cubicBezTo>
                    <a:pt x="155" y="136"/>
                    <a:pt x="168" y="132"/>
                    <a:pt x="182" y="132"/>
                  </a:cubicBezTo>
                  <a:cubicBezTo>
                    <a:pt x="198" y="132"/>
                    <a:pt x="214" y="139"/>
                    <a:pt x="225" y="153"/>
                  </a:cubicBezTo>
                  <a:cubicBezTo>
                    <a:pt x="313" y="263"/>
                    <a:pt x="313" y="263"/>
                    <a:pt x="313" y="263"/>
                  </a:cubicBezTo>
                  <a:cubicBezTo>
                    <a:pt x="314" y="213"/>
                    <a:pt x="307" y="151"/>
                    <a:pt x="271" y="102"/>
                  </a:cubicBezTo>
                  <a:cubicBezTo>
                    <a:pt x="199" y="5"/>
                    <a:pt x="42" y="0"/>
                    <a:pt x="42" y="0"/>
                  </a:cubicBezTo>
                  <a:cubicBezTo>
                    <a:pt x="42" y="0"/>
                    <a:pt x="0" y="151"/>
                    <a:pt x="73" y="248"/>
                  </a:cubicBezTo>
                  <a:cubicBezTo>
                    <a:pt x="108" y="298"/>
                    <a:pt x="167" y="323"/>
                    <a:pt x="215" y="3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272403" y="2956179"/>
              <a:ext cx="224028" cy="240030"/>
            </a:xfrm>
            <a:custGeom>
              <a:avLst/>
              <a:gdLst>
                <a:gd name="T0" fmla="*/ 90 w 314"/>
                <a:gd name="T1" fmla="*/ 153 h 336"/>
                <a:gd name="T2" fmla="*/ 133 w 314"/>
                <a:gd name="T3" fmla="*/ 132 h 336"/>
                <a:gd name="T4" fmla="*/ 169 w 314"/>
                <a:gd name="T5" fmla="*/ 145 h 336"/>
                <a:gd name="T6" fmla="*/ 180 w 314"/>
                <a:gd name="T7" fmla="*/ 217 h 336"/>
                <a:gd name="T8" fmla="*/ 179 w 314"/>
                <a:gd name="T9" fmla="*/ 218 h 336"/>
                <a:gd name="T10" fmla="*/ 99 w 314"/>
                <a:gd name="T11" fmla="*/ 336 h 336"/>
                <a:gd name="T12" fmla="*/ 242 w 314"/>
                <a:gd name="T13" fmla="*/ 248 h 336"/>
                <a:gd name="T14" fmla="*/ 273 w 314"/>
                <a:gd name="T15" fmla="*/ 0 h 336"/>
                <a:gd name="T16" fmla="*/ 43 w 314"/>
                <a:gd name="T17" fmla="*/ 102 h 336"/>
                <a:gd name="T18" fmla="*/ 1 w 314"/>
                <a:gd name="T19" fmla="*/ 264 h 336"/>
                <a:gd name="T20" fmla="*/ 90 w 314"/>
                <a:gd name="T21" fmla="*/ 15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336">
                  <a:moveTo>
                    <a:pt x="90" y="153"/>
                  </a:moveTo>
                  <a:cubicBezTo>
                    <a:pt x="100" y="139"/>
                    <a:pt x="116" y="132"/>
                    <a:pt x="133" y="132"/>
                  </a:cubicBezTo>
                  <a:cubicBezTo>
                    <a:pt x="146" y="132"/>
                    <a:pt x="159" y="136"/>
                    <a:pt x="169" y="145"/>
                  </a:cubicBezTo>
                  <a:cubicBezTo>
                    <a:pt x="190" y="163"/>
                    <a:pt x="195" y="193"/>
                    <a:pt x="180" y="217"/>
                  </a:cubicBezTo>
                  <a:cubicBezTo>
                    <a:pt x="179" y="218"/>
                    <a:pt x="179" y="218"/>
                    <a:pt x="179" y="218"/>
                  </a:cubicBezTo>
                  <a:cubicBezTo>
                    <a:pt x="99" y="336"/>
                    <a:pt x="99" y="336"/>
                    <a:pt x="99" y="336"/>
                  </a:cubicBezTo>
                  <a:cubicBezTo>
                    <a:pt x="148" y="323"/>
                    <a:pt x="206" y="298"/>
                    <a:pt x="242" y="248"/>
                  </a:cubicBezTo>
                  <a:cubicBezTo>
                    <a:pt x="314" y="151"/>
                    <a:pt x="273" y="0"/>
                    <a:pt x="273" y="0"/>
                  </a:cubicBezTo>
                  <a:cubicBezTo>
                    <a:pt x="273" y="0"/>
                    <a:pt x="115" y="5"/>
                    <a:pt x="43" y="102"/>
                  </a:cubicBezTo>
                  <a:cubicBezTo>
                    <a:pt x="7" y="151"/>
                    <a:pt x="0" y="213"/>
                    <a:pt x="1" y="264"/>
                  </a:cubicBezTo>
                  <a:lnTo>
                    <a:pt x="9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974079" y="2894076"/>
              <a:ext cx="244602" cy="383667"/>
            </a:xfrm>
            <a:custGeom>
              <a:avLst/>
              <a:gdLst>
                <a:gd name="T0" fmla="*/ 109 w 343"/>
                <a:gd name="T1" fmla="*/ 346 h 537"/>
                <a:gd name="T2" fmla="*/ 169 w 343"/>
                <a:gd name="T3" fmla="*/ 287 h 537"/>
                <a:gd name="T4" fmla="*/ 174 w 343"/>
                <a:gd name="T5" fmla="*/ 287 h 537"/>
                <a:gd name="T6" fmla="*/ 233 w 343"/>
                <a:gd name="T7" fmla="*/ 343 h 537"/>
                <a:gd name="T8" fmla="*/ 233 w 343"/>
                <a:gd name="T9" fmla="*/ 345 h 537"/>
                <a:gd name="T10" fmla="*/ 241 w 343"/>
                <a:gd name="T11" fmla="*/ 537 h 537"/>
                <a:gd name="T12" fmla="*/ 343 w 343"/>
                <a:gd name="T13" fmla="*/ 303 h 537"/>
                <a:gd name="T14" fmla="*/ 171 w 343"/>
                <a:gd name="T15" fmla="*/ 0 h 537"/>
                <a:gd name="T16" fmla="*/ 0 w 343"/>
                <a:gd name="T17" fmla="*/ 303 h 537"/>
                <a:gd name="T18" fmla="*/ 101 w 343"/>
                <a:gd name="T19" fmla="*/ 536 h 537"/>
                <a:gd name="T20" fmla="*/ 109 w 343"/>
                <a:gd name="T21" fmla="*/ 34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3" h="537">
                  <a:moveTo>
                    <a:pt x="109" y="346"/>
                  </a:moveTo>
                  <a:cubicBezTo>
                    <a:pt x="110" y="313"/>
                    <a:pt x="137" y="287"/>
                    <a:pt x="169" y="287"/>
                  </a:cubicBezTo>
                  <a:cubicBezTo>
                    <a:pt x="171" y="287"/>
                    <a:pt x="172" y="287"/>
                    <a:pt x="174" y="287"/>
                  </a:cubicBezTo>
                  <a:cubicBezTo>
                    <a:pt x="204" y="289"/>
                    <a:pt x="229" y="312"/>
                    <a:pt x="233" y="343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1" y="537"/>
                    <a:pt x="241" y="537"/>
                    <a:pt x="241" y="537"/>
                  </a:cubicBezTo>
                  <a:cubicBezTo>
                    <a:pt x="288" y="481"/>
                    <a:pt x="343" y="397"/>
                    <a:pt x="343" y="303"/>
                  </a:cubicBezTo>
                  <a:cubicBezTo>
                    <a:pt x="343" y="136"/>
                    <a:pt x="171" y="0"/>
                    <a:pt x="171" y="0"/>
                  </a:cubicBezTo>
                  <a:cubicBezTo>
                    <a:pt x="171" y="0"/>
                    <a:pt x="0" y="136"/>
                    <a:pt x="0" y="303"/>
                  </a:cubicBezTo>
                  <a:cubicBezTo>
                    <a:pt x="0" y="397"/>
                    <a:pt x="54" y="480"/>
                    <a:pt x="101" y="536"/>
                  </a:cubicBezTo>
                  <a:lnTo>
                    <a:pt x="109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226683" y="3228975"/>
              <a:ext cx="292608" cy="315849"/>
            </a:xfrm>
            <a:custGeom>
              <a:avLst/>
              <a:gdLst>
                <a:gd name="T0" fmla="*/ 355 w 410"/>
                <a:gd name="T1" fmla="*/ 0 h 442"/>
                <a:gd name="T2" fmla="*/ 57 w 410"/>
                <a:gd name="T3" fmla="*/ 134 h 442"/>
                <a:gd name="T4" fmla="*/ 4 w 410"/>
                <a:gd name="T5" fmla="*/ 362 h 442"/>
                <a:gd name="T6" fmla="*/ 123 w 410"/>
                <a:gd name="T7" fmla="*/ 213 h 442"/>
                <a:gd name="T8" fmla="*/ 171 w 410"/>
                <a:gd name="T9" fmla="*/ 189 h 442"/>
                <a:gd name="T10" fmla="*/ 206 w 410"/>
                <a:gd name="T11" fmla="*/ 200 h 442"/>
                <a:gd name="T12" fmla="*/ 233 w 410"/>
                <a:gd name="T13" fmla="*/ 240 h 442"/>
                <a:gd name="T14" fmla="*/ 223 w 410"/>
                <a:gd name="T15" fmla="*/ 286 h 442"/>
                <a:gd name="T16" fmla="*/ 118 w 410"/>
                <a:gd name="T17" fmla="*/ 442 h 442"/>
                <a:gd name="T18" fmla="*/ 317 w 410"/>
                <a:gd name="T19" fmla="*/ 323 h 442"/>
                <a:gd name="T20" fmla="*/ 355 w 410"/>
                <a:gd name="T21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0" h="442">
                  <a:moveTo>
                    <a:pt x="355" y="0"/>
                  </a:moveTo>
                  <a:cubicBezTo>
                    <a:pt x="355" y="0"/>
                    <a:pt x="150" y="8"/>
                    <a:pt x="57" y="134"/>
                  </a:cubicBezTo>
                  <a:cubicBezTo>
                    <a:pt x="7" y="204"/>
                    <a:pt x="0" y="294"/>
                    <a:pt x="4" y="362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34" y="198"/>
                    <a:pt x="152" y="189"/>
                    <a:pt x="171" y="189"/>
                  </a:cubicBezTo>
                  <a:cubicBezTo>
                    <a:pt x="183" y="189"/>
                    <a:pt x="196" y="193"/>
                    <a:pt x="206" y="200"/>
                  </a:cubicBezTo>
                  <a:cubicBezTo>
                    <a:pt x="220" y="209"/>
                    <a:pt x="230" y="224"/>
                    <a:pt x="233" y="240"/>
                  </a:cubicBezTo>
                  <a:cubicBezTo>
                    <a:pt x="236" y="256"/>
                    <a:pt x="232" y="273"/>
                    <a:pt x="223" y="286"/>
                  </a:cubicBezTo>
                  <a:cubicBezTo>
                    <a:pt x="118" y="442"/>
                    <a:pt x="118" y="442"/>
                    <a:pt x="118" y="442"/>
                  </a:cubicBezTo>
                  <a:cubicBezTo>
                    <a:pt x="184" y="425"/>
                    <a:pt x="267" y="391"/>
                    <a:pt x="317" y="323"/>
                  </a:cubicBezTo>
                  <a:cubicBezTo>
                    <a:pt x="410" y="197"/>
                    <a:pt x="355" y="0"/>
                    <a:pt x="3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97930" y="3614166"/>
              <a:ext cx="267843" cy="209931"/>
            </a:xfrm>
            <a:custGeom>
              <a:avLst/>
              <a:gdLst>
                <a:gd name="T0" fmla="*/ 212 w 375"/>
                <a:gd name="T1" fmla="*/ 21 h 294"/>
                <a:gd name="T2" fmla="*/ 47 w 375"/>
                <a:gd name="T3" fmla="*/ 25 h 294"/>
                <a:gd name="T4" fmla="*/ 176 w 375"/>
                <a:gd name="T5" fmla="*/ 79 h 294"/>
                <a:gd name="T6" fmla="*/ 208 w 375"/>
                <a:gd name="T7" fmla="*/ 142 h 294"/>
                <a:gd name="T8" fmla="*/ 207 w 375"/>
                <a:gd name="T9" fmla="*/ 146 h 294"/>
                <a:gd name="T10" fmla="*/ 205 w 375"/>
                <a:gd name="T11" fmla="*/ 149 h 294"/>
                <a:gd name="T12" fmla="*/ 153 w 375"/>
                <a:gd name="T13" fmla="*/ 185 h 294"/>
                <a:gd name="T14" fmla="*/ 136 w 375"/>
                <a:gd name="T15" fmla="*/ 183 h 294"/>
                <a:gd name="T16" fmla="*/ 0 w 375"/>
                <a:gd name="T17" fmla="*/ 138 h 294"/>
                <a:gd name="T18" fmla="*/ 126 w 375"/>
                <a:gd name="T19" fmla="*/ 251 h 294"/>
                <a:gd name="T20" fmla="*/ 375 w 375"/>
                <a:gd name="T21" fmla="*/ 213 h 294"/>
                <a:gd name="T22" fmla="*/ 212 w 375"/>
                <a:gd name="T23" fmla="*/ 2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5" h="294">
                  <a:moveTo>
                    <a:pt x="212" y="21"/>
                  </a:moveTo>
                  <a:cubicBezTo>
                    <a:pt x="156" y="0"/>
                    <a:pt x="95" y="10"/>
                    <a:pt x="47" y="25"/>
                  </a:cubicBezTo>
                  <a:cubicBezTo>
                    <a:pt x="176" y="79"/>
                    <a:pt x="176" y="79"/>
                    <a:pt x="176" y="79"/>
                  </a:cubicBezTo>
                  <a:cubicBezTo>
                    <a:pt x="200" y="90"/>
                    <a:pt x="213" y="116"/>
                    <a:pt x="208" y="142"/>
                  </a:cubicBezTo>
                  <a:cubicBezTo>
                    <a:pt x="207" y="146"/>
                    <a:pt x="207" y="146"/>
                    <a:pt x="207" y="146"/>
                  </a:cubicBezTo>
                  <a:cubicBezTo>
                    <a:pt x="205" y="149"/>
                    <a:pt x="205" y="149"/>
                    <a:pt x="205" y="149"/>
                  </a:cubicBezTo>
                  <a:cubicBezTo>
                    <a:pt x="197" y="171"/>
                    <a:pt x="176" y="185"/>
                    <a:pt x="153" y="185"/>
                  </a:cubicBezTo>
                  <a:cubicBezTo>
                    <a:pt x="147" y="185"/>
                    <a:pt x="141" y="185"/>
                    <a:pt x="136" y="183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7" y="181"/>
                    <a:pt x="68" y="230"/>
                    <a:pt x="126" y="251"/>
                  </a:cubicBezTo>
                  <a:cubicBezTo>
                    <a:pt x="240" y="294"/>
                    <a:pt x="375" y="213"/>
                    <a:pt x="375" y="213"/>
                  </a:cubicBezTo>
                  <a:cubicBezTo>
                    <a:pt x="375" y="213"/>
                    <a:pt x="327" y="63"/>
                    <a:pt x="2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5558408" y="3826383"/>
              <a:ext cx="466344" cy="250698"/>
            </a:xfrm>
            <a:custGeom>
              <a:avLst/>
              <a:gdLst>
                <a:gd name="T0" fmla="*/ 653 w 653"/>
                <a:gd name="T1" fmla="*/ 0 h 351"/>
                <a:gd name="T2" fmla="*/ 269 w 653"/>
                <a:gd name="T3" fmla="*/ 187 h 351"/>
                <a:gd name="T4" fmla="*/ 22 w 653"/>
                <a:gd name="T5" fmla="*/ 307 h 351"/>
                <a:gd name="T6" fmla="*/ 0 w 653"/>
                <a:gd name="T7" fmla="*/ 329 h 351"/>
                <a:gd name="T8" fmla="*/ 22 w 653"/>
                <a:gd name="T9" fmla="*/ 351 h 351"/>
                <a:gd name="T10" fmla="*/ 295 w 653"/>
                <a:gd name="T11" fmla="*/ 223 h 351"/>
                <a:gd name="T12" fmla="*/ 652 w 653"/>
                <a:gd name="T13" fmla="*/ 45 h 351"/>
                <a:gd name="T14" fmla="*/ 653 w 653"/>
                <a:gd name="T1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3" h="351">
                  <a:moveTo>
                    <a:pt x="653" y="0"/>
                  </a:moveTo>
                  <a:cubicBezTo>
                    <a:pt x="496" y="27"/>
                    <a:pt x="372" y="114"/>
                    <a:pt x="269" y="187"/>
                  </a:cubicBezTo>
                  <a:cubicBezTo>
                    <a:pt x="178" y="251"/>
                    <a:pt x="99" y="307"/>
                    <a:pt x="22" y="307"/>
                  </a:cubicBezTo>
                  <a:cubicBezTo>
                    <a:pt x="9" y="307"/>
                    <a:pt x="0" y="317"/>
                    <a:pt x="0" y="329"/>
                  </a:cubicBezTo>
                  <a:cubicBezTo>
                    <a:pt x="0" y="341"/>
                    <a:pt x="9" y="351"/>
                    <a:pt x="22" y="351"/>
                  </a:cubicBezTo>
                  <a:cubicBezTo>
                    <a:pt x="113" y="351"/>
                    <a:pt x="197" y="292"/>
                    <a:pt x="295" y="223"/>
                  </a:cubicBezTo>
                  <a:cubicBezTo>
                    <a:pt x="396" y="151"/>
                    <a:pt x="509" y="72"/>
                    <a:pt x="652" y="45"/>
                  </a:cubicBezTo>
                  <a:lnTo>
                    <a:pt x="6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167247" y="3826383"/>
              <a:ext cx="467487" cy="250698"/>
            </a:xfrm>
            <a:custGeom>
              <a:avLst/>
              <a:gdLst>
                <a:gd name="T0" fmla="*/ 633 w 655"/>
                <a:gd name="T1" fmla="*/ 307 h 351"/>
                <a:gd name="T2" fmla="*/ 386 w 655"/>
                <a:gd name="T3" fmla="*/ 187 h 351"/>
                <a:gd name="T4" fmla="*/ 0 w 655"/>
                <a:gd name="T5" fmla="*/ 0 h 351"/>
                <a:gd name="T6" fmla="*/ 2 w 655"/>
                <a:gd name="T7" fmla="*/ 44 h 351"/>
                <a:gd name="T8" fmla="*/ 360 w 655"/>
                <a:gd name="T9" fmla="*/ 223 h 351"/>
                <a:gd name="T10" fmla="*/ 633 w 655"/>
                <a:gd name="T11" fmla="*/ 351 h 351"/>
                <a:gd name="T12" fmla="*/ 655 w 655"/>
                <a:gd name="T13" fmla="*/ 329 h 351"/>
                <a:gd name="T14" fmla="*/ 633 w 655"/>
                <a:gd name="T15" fmla="*/ 30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5" h="351">
                  <a:moveTo>
                    <a:pt x="633" y="307"/>
                  </a:moveTo>
                  <a:cubicBezTo>
                    <a:pt x="556" y="307"/>
                    <a:pt x="477" y="251"/>
                    <a:pt x="386" y="187"/>
                  </a:cubicBezTo>
                  <a:cubicBezTo>
                    <a:pt x="283" y="114"/>
                    <a:pt x="159" y="27"/>
                    <a:pt x="0" y="0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5" y="71"/>
                    <a:pt x="258" y="151"/>
                    <a:pt x="360" y="223"/>
                  </a:cubicBezTo>
                  <a:cubicBezTo>
                    <a:pt x="458" y="292"/>
                    <a:pt x="542" y="351"/>
                    <a:pt x="633" y="351"/>
                  </a:cubicBezTo>
                  <a:cubicBezTo>
                    <a:pt x="646" y="351"/>
                    <a:pt x="655" y="341"/>
                    <a:pt x="655" y="329"/>
                  </a:cubicBezTo>
                  <a:cubicBezTo>
                    <a:pt x="655" y="317"/>
                    <a:pt x="646" y="307"/>
                    <a:pt x="633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49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50" name="bcgIcons_BigDataAdvancedAnalytics">
            <a:extLst>
              <a:ext uri="{FF2B5EF4-FFF2-40B4-BE49-F238E27FC236}">
                <a16:creationId xmlns:a16="http://schemas.microsoft.com/office/drawing/2014/main" id="{1E6F2CA5-3D7F-4902-8F27-E316A2788403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11620176" y="22928"/>
            <a:ext cx="548640" cy="548640"/>
            <a:chOff x="1682" y="0"/>
            <a:chExt cx="4316" cy="4320"/>
          </a:xfrm>
        </p:grpSpPr>
        <p:sp>
          <p:nvSpPr>
            <p:cNvPr id="51" name="AutoShape 33">
              <a:extLst>
                <a:ext uri="{FF2B5EF4-FFF2-40B4-BE49-F238E27FC236}">
                  <a16:creationId xmlns:a16="http://schemas.microsoft.com/office/drawing/2014/main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3960853" y="1806718"/>
            <a:ext cx="0" cy="3856736"/>
          </a:xfrm>
          <a:prstGeom prst="line">
            <a:avLst/>
          </a:prstGeom>
          <a:ln w="1270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e4pHeader1"/>
          <p:cNvSpPr txBox="1"/>
          <p:nvPr/>
        </p:nvSpPr>
        <p:spPr>
          <a:xfrm>
            <a:off x="630000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text and challenges</a:t>
            </a:r>
          </a:p>
        </p:txBody>
      </p:sp>
      <p:sp>
        <p:nvSpPr>
          <p:cNvPr id="58" name="ee4pHeader2"/>
          <p:cNvSpPr txBox="1"/>
          <p:nvPr/>
        </p:nvSpPr>
        <p:spPr>
          <a:xfrm>
            <a:off x="4372956" y="1920338"/>
            <a:ext cx="312844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4422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KoçDigital approach</a:t>
            </a:r>
          </a:p>
        </p:txBody>
      </p:sp>
      <p:sp>
        <p:nvSpPr>
          <p:cNvPr id="59" name="ee4pHeader3"/>
          <p:cNvSpPr txBox="1"/>
          <p:nvPr/>
        </p:nvSpPr>
        <p:spPr>
          <a:xfrm>
            <a:off x="8757000" y="1920338"/>
            <a:ext cx="2752511" cy="35443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4DF3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act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4372956" y="2379600"/>
            <a:ext cx="3128441" cy="172354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sed Transfer Learning technique on pre-trained Yolo v3 deep learning model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to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detec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helmet</a:t>
            </a:r>
            <a:endParaRPr lang="tr-TR" sz="1400" dirty="0">
              <a:solidFill>
                <a:srgbClr val="575757"/>
              </a:solidFill>
              <a:cs typeface="Arial" pitchFamily="34" charset="0"/>
            </a:endParaRPr>
          </a:p>
          <a:p>
            <a:pPr marL="342900" lvl="0" indent="-342900"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Used Transfer Learning technique on pre-trained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ResNet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en-US" sz="1400" dirty="0">
                <a:solidFill>
                  <a:srgbClr val="575757"/>
                </a:solidFill>
                <a:cs typeface="Arial" pitchFamily="34" charset="0"/>
              </a:rPr>
              <a:t>deep learning model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to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classify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wherea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worker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wea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glass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</a:t>
            </a:r>
            <a:r>
              <a:rPr lang="tr-TR" sz="1400" dirty="0" err="1">
                <a:solidFill>
                  <a:srgbClr val="575757"/>
                </a:solidFill>
                <a:cs typeface="Arial" pitchFamily="34" charset="0"/>
              </a:rPr>
              <a:t>or</a:t>
            </a:r>
            <a:r>
              <a:rPr lang="tr-TR" sz="1400" dirty="0">
                <a:solidFill>
                  <a:srgbClr val="575757"/>
                </a:solidFill>
                <a:cs typeface="Arial" pitchFamily="34" charset="0"/>
              </a:rPr>
              <a:t> not</a:t>
            </a:r>
          </a:p>
        </p:txBody>
      </p:sp>
      <p:sp>
        <p:nvSpPr>
          <p:cNvPr id="61" name="ee4pContent1"/>
          <p:cNvSpPr txBox="1"/>
          <p:nvPr/>
        </p:nvSpPr>
        <p:spPr>
          <a:xfrm>
            <a:off x="630000" y="2379600"/>
            <a:ext cx="3123862" cy="172354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Glasses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are</a:t>
            </a: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kumimoji="0" lang="tr-T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transpar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BA74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Key client ques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sym typeface="Trebuchet MS" panose="020B0603020202020204" pitchFamily="34" charset="0"/>
              </a:rPr>
              <a:t>Company aims to decrease work accidents caused by manufacturing area process viol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  <a:sym typeface="Trebuchet MS" panose="020B0603020202020204" pitchFamily="34" charset="0"/>
            </a:endParaRPr>
          </a:p>
        </p:txBody>
      </p:sp>
      <p:sp>
        <p:nvSpPr>
          <p:cNvPr id="62" name="ee4pContent3"/>
          <p:cNvSpPr txBox="1"/>
          <p:nvPr/>
        </p:nvSpPr>
        <p:spPr>
          <a:xfrm>
            <a:off x="8757000" y="2379600"/>
            <a:ext cx="2825400" cy="8617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tr-TR" sz="1400" dirty="0" err="1">
                <a:solidFill>
                  <a:srgbClr val="FFFFFF"/>
                </a:solidFill>
              </a:rPr>
              <a:t>All</a:t>
            </a:r>
            <a:r>
              <a:rPr lang="tr-TR" sz="1400" dirty="0">
                <a:solidFill>
                  <a:srgbClr val="FFFFFF"/>
                </a:solidFill>
              </a:rPr>
              <a:t> time </a:t>
            </a:r>
            <a:r>
              <a:rPr lang="tr-TR" sz="1400" dirty="0" err="1">
                <a:solidFill>
                  <a:srgbClr val="FFFFFF"/>
                </a:solidFill>
              </a:rPr>
              <a:t>Work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Safety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control</a:t>
            </a:r>
            <a:endParaRPr lang="tr-TR" sz="1400" dirty="0">
              <a:solidFill>
                <a:srgbClr val="FFFFFF"/>
              </a:solidFill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tr-TR" sz="1400" dirty="0" err="1">
                <a:solidFill>
                  <a:srgbClr val="FFFFFF"/>
                </a:solidFill>
              </a:rPr>
              <a:t>Detec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worker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who</a:t>
            </a:r>
            <a:r>
              <a:rPr lang="tr-TR" sz="1400" dirty="0">
                <a:solidFill>
                  <a:srgbClr val="FFFFFF"/>
                </a:solidFill>
              </a:rPr>
              <a:t> do not </a:t>
            </a:r>
            <a:r>
              <a:rPr lang="tr-TR" sz="1400" dirty="0" err="1">
                <a:solidFill>
                  <a:srgbClr val="FFFFFF"/>
                </a:solidFill>
              </a:rPr>
              <a:t>use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helmet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or</a:t>
            </a:r>
            <a:r>
              <a:rPr lang="tr-TR" sz="1400" dirty="0">
                <a:solidFill>
                  <a:srgbClr val="FFFFFF"/>
                </a:solidFill>
              </a:rPr>
              <a:t> </a:t>
            </a:r>
            <a:r>
              <a:rPr lang="tr-TR" sz="1400" dirty="0" err="1">
                <a:solidFill>
                  <a:srgbClr val="FFFFFF"/>
                </a:solidFill>
              </a:rPr>
              <a:t>glass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E36605-E0C9-47F4-BA1B-22D188B755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4916" y="4924338"/>
            <a:ext cx="1846266" cy="173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1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775597"/>
          </a:xfrm>
        </p:spPr>
        <p:txBody>
          <a:bodyPr/>
          <a:lstStyle/>
          <a:p>
            <a:r>
              <a:rPr lang="tr-TR" sz="2800" dirty="0"/>
              <a:t>KoçDigital</a:t>
            </a:r>
            <a:r>
              <a:rPr lang="en-US" sz="2800" dirty="0"/>
              <a:t> Intelligent Video Analytics Software offers various solutions for safety and security problems </a:t>
            </a:r>
            <a:endParaRPr lang="en-US" sz="28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NavigationIcon"/>
          <p:cNvSpPr>
            <a:spLocks noChangeAspect="1"/>
          </p:cNvSpPr>
          <p:nvPr/>
        </p:nvSpPr>
        <p:spPr bwMode="auto">
          <a:xfrm>
            <a:off x="11671526" y="132877"/>
            <a:ext cx="403796" cy="365760"/>
          </a:xfrm>
          <a:custGeom>
            <a:avLst/>
            <a:gdLst>
              <a:gd name="connsiteX0" fmla="*/ 1124567 w 1367015"/>
              <a:gd name="connsiteY0" fmla="*/ 922337 h 1238250"/>
              <a:gd name="connsiteX1" fmla="*/ 1113855 w 1367015"/>
              <a:gd name="connsiteY1" fmla="*/ 931647 h 1238250"/>
              <a:gd name="connsiteX2" fmla="*/ 1058863 w 1367015"/>
              <a:gd name="connsiteY2" fmla="*/ 985360 h 1238250"/>
              <a:gd name="connsiteX3" fmla="*/ 1269544 w 1367015"/>
              <a:gd name="connsiteY3" fmla="*/ 1205939 h 1238250"/>
              <a:gd name="connsiteX4" fmla="*/ 1282399 w 1367015"/>
              <a:gd name="connsiteY4" fmla="*/ 1205939 h 1238250"/>
              <a:gd name="connsiteX5" fmla="*/ 1313109 w 1367015"/>
              <a:gd name="connsiteY5" fmla="*/ 1185886 h 1238250"/>
              <a:gd name="connsiteX6" fmla="*/ 1333820 w 1367015"/>
              <a:gd name="connsiteY6" fmla="*/ 1155807 h 1238250"/>
              <a:gd name="connsiteX7" fmla="*/ 1335248 w 1367015"/>
              <a:gd name="connsiteY7" fmla="*/ 1142916 h 1238250"/>
              <a:gd name="connsiteX8" fmla="*/ 1133851 w 1367015"/>
              <a:gd name="connsiteY8" fmla="*/ 931647 h 1238250"/>
              <a:gd name="connsiteX9" fmla="*/ 1124567 w 1367015"/>
              <a:gd name="connsiteY9" fmla="*/ 922337 h 1238250"/>
              <a:gd name="connsiteX10" fmla="*/ 925229 w 1367015"/>
              <a:gd name="connsiteY10" fmla="*/ 906462 h 1238250"/>
              <a:gd name="connsiteX11" fmla="*/ 949325 w 1367015"/>
              <a:gd name="connsiteY11" fmla="*/ 931862 h 1238250"/>
              <a:gd name="connsiteX12" fmla="*/ 869950 w 1367015"/>
              <a:gd name="connsiteY12" fmla="*/ 931862 h 1238250"/>
              <a:gd name="connsiteX13" fmla="*/ 925229 w 1367015"/>
              <a:gd name="connsiteY13" fmla="*/ 906462 h 1238250"/>
              <a:gd name="connsiteX14" fmla="*/ 1124927 w 1367015"/>
              <a:gd name="connsiteY14" fmla="*/ 884237 h 1238250"/>
              <a:gd name="connsiteX15" fmla="*/ 1135645 w 1367015"/>
              <a:gd name="connsiteY15" fmla="*/ 889243 h 1238250"/>
              <a:gd name="connsiteX16" fmla="*/ 1146363 w 1367015"/>
              <a:gd name="connsiteY16" fmla="*/ 900686 h 1238250"/>
              <a:gd name="connsiteX17" fmla="*/ 1176374 w 1367015"/>
              <a:gd name="connsiteY17" fmla="*/ 932154 h 1238250"/>
              <a:gd name="connsiteX18" fmla="*/ 1357152 w 1367015"/>
              <a:gd name="connsiteY18" fmla="*/ 1121676 h 1238250"/>
              <a:gd name="connsiteX19" fmla="*/ 1363582 w 1367015"/>
              <a:gd name="connsiteY19" fmla="*/ 1166017 h 1238250"/>
              <a:gd name="connsiteX20" fmla="*/ 1335001 w 1367015"/>
              <a:gd name="connsiteY20" fmla="*/ 1208928 h 1238250"/>
              <a:gd name="connsiteX21" fmla="*/ 1290700 w 1367015"/>
              <a:gd name="connsiteY21" fmla="*/ 1236105 h 1238250"/>
              <a:gd name="connsiteX22" fmla="*/ 1273551 w 1367015"/>
              <a:gd name="connsiteY22" fmla="*/ 1238250 h 1238250"/>
              <a:gd name="connsiteX23" fmla="*/ 1246398 w 1367015"/>
              <a:gd name="connsiteY23" fmla="*/ 1227522 h 1238250"/>
              <a:gd name="connsiteX24" fmla="*/ 1024892 w 1367015"/>
              <a:gd name="connsiteY24" fmla="*/ 996520 h 1238250"/>
              <a:gd name="connsiteX25" fmla="*/ 1025606 w 1367015"/>
              <a:gd name="connsiteY25" fmla="*/ 974350 h 1238250"/>
              <a:gd name="connsiteX26" fmla="*/ 1068478 w 1367015"/>
              <a:gd name="connsiteY26" fmla="*/ 932154 h 1238250"/>
              <a:gd name="connsiteX27" fmla="*/ 1076338 w 1367015"/>
              <a:gd name="connsiteY27" fmla="*/ 925002 h 1238250"/>
              <a:gd name="connsiteX28" fmla="*/ 1100633 w 1367015"/>
              <a:gd name="connsiteY28" fmla="*/ 900686 h 1238250"/>
              <a:gd name="connsiteX29" fmla="*/ 1104205 w 1367015"/>
              <a:gd name="connsiteY29" fmla="*/ 897826 h 1238250"/>
              <a:gd name="connsiteX30" fmla="*/ 1113494 w 1367015"/>
              <a:gd name="connsiteY30" fmla="*/ 889243 h 1238250"/>
              <a:gd name="connsiteX31" fmla="*/ 1124927 w 1367015"/>
              <a:gd name="connsiteY31" fmla="*/ 884237 h 1238250"/>
              <a:gd name="connsiteX32" fmla="*/ 425773 w 1367015"/>
              <a:gd name="connsiteY32" fmla="*/ 674687 h 1238250"/>
              <a:gd name="connsiteX33" fmla="*/ 514415 w 1367015"/>
              <a:gd name="connsiteY33" fmla="*/ 848493 h 1238250"/>
              <a:gd name="connsiteX34" fmla="*/ 536575 w 1367015"/>
              <a:gd name="connsiteY34" fmla="*/ 869950 h 1238250"/>
              <a:gd name="connsiteX35" fmla="*/ 61912 w 1367015"/>
              <a:gd name="connsiteY35" fmla="*/ 869950 h 1238250"/>
              <a:gd name="connsiteX36" fmla="*/ 61912 w 1367015"/>
              <a:gd name="connsiteY36" fmla="*/ 796995 h 1238250"/>
              <a:gd name="connsiteX37" fmla="*/ 283517 w 1367015"/>
              <a:gd name="connsiteY37" fmla="*/ 689707 h 1238250"/>
              <a:gd name="connsiteX38" fmla="*/ 346424 w 1367015"/>
              <a:gd name="connsiteY38" fmla="*/ 711165 h 1238250"/>
              <a:gd name="connsiteX39" fmla="*/ 425773 w 1367015"/>
              <a:gd name="connsiteY39" fmla="*/ 674687 h 1238250"/>
              <a:gd name="connsiteX40" fmla="*/ 346518 w 1367015"/>
              <a:gd name="connsiteY40" fmla="*/ 565150 h 1238250"/>
              <a:gd name="connsiteX41" fmla="*/ 306388 w 1367015"/>
              <a:gd name="connsiteY41" fmla="*/ 606784 h 1238250"/>
              <a:gd name="connsiteX42" fmla="*/ 306388 w 1367015"/>
              <a:gd name="connsiteY42" fmla="*/ 608938 h 1238250"/>
              <a:gd name="connsiteX43" fmla="*/ 319765 w 1367015"/>
              <a:gd name="connsiteY43" fmla="*/ 636933 h 1238250"/>
              <a:gd name="connsiteX44" fmla="*/ 346518 w 1367015"/>
              <a:gd name="connsiteY44" fmla="*/ 647700 h 1238250"/>
              <a:gd name="connsiteX45" fmla="*/ 387351 w 1367015"/>
              <a:gd name="connsiteY45" fmla="*/ 606784 h 1238250"/>
              <a:gd name="connsiteX46" fmla="*/ 383127 w 1367015"/>
              <a:gd name="connsiteY46" fmla="*/ 588838 h 1238250"/>
              <a:gd name="connsiteX47" fmla="*/ 360598 w 1367015"/>
              <a:gd name="connsiteY47" fmla="*/ 568021 h 1238250"/>
              <a:gd name="connsiteX48" fmla="*/ 346518 w 1367015"/>
              <a:gd name="connsiteY48" fmla="*/ 565150 h 1238250"/>
              <a:gd name="connsiteX49" fmla="*/ 760846 w 1367015"/>
              <a:gd name="connsiteY49" fmla="*/ 492125 h 1238250"/>
              <a:gd name="connsiteX50" fmla="*/ 735591 w 1367015"/>
              <a:gd name="connsiteY50" fmla="*/ 499181 h 1238250"/>
              <a:gd name="connsiteX51" fmla="*/ 710335 w 1367015"/>
              <a:gd name="connsiteY51" fmla="*/ 535164 h 1238250"/>
              <a:gd name="connsiteX52" fmla="*/ 709613 w 1367015"/>
              <a:gd name="connsiteY52" fmla="*/ 542925 h 1238250"/>
              <a:gd name="connsiteX53" fmla="*/ 760846 w 1367015"/>
              <a:gd name="connsiteY53" fmla="*/ 593725 h 1238250"/>
              <a:gd name="connsiteX54" fmla="*/ 767341 w 1367015"/>
              <a:gd name="connsiteY54" fmla="*/ 593725 h 1238250"/>
              <a:gd name="connsiteX55" fmla="*/ 804864 w 1367015"/>
              <a:gd name="connsiteY55" fmla="*/ 570442 h 1238250"/>
              <a:gd name="connsiteX56" fmla="*/ 812801 w 1367015"/>
              <a:gd name="connsiteY56" fmla="*/ 542925 h 1238250"/>
              <a:gd name="connsiteX57" fmla="*/ 812801 w 1367015"/>
              <a:gd name="connsiteY57" fmla="*/ 539397 h 1238250"/>
              <a:gd name="connsiteX58" fmla="*/ 768062 w 1367015"/>
              <a:gd name="connsiteY58" fmla="*/ 492831 h 1238250"/>
              <a:gd name="connsiteX59" fmla="*/ 760846 w 1367015"/>
              <a:gd name="connsiteY59" fmla="*/ 492125 h 1238250"/>
              <a:gd name="connsiteX60" fmla="*/ 943382 w 1367015"/>
              <a:gd name="connsiteY60" fmla="*/ 466725 h 1238250"/>
              <a:gd name="connsiteX61" fmla="*/ 941239 w 1367015"/>
              <a:gd name="connsiteY61" fmla="*/ 759293 h 1238250"/>
              <a:gd name="connsiteX62" fmla="*/ 921240 w 1367015"/>
              <a:gd name="connsiteY62" fmla="*/ 780648 h 1238250"/>
              <a:gd name="connsiteX63" fmla="*/ 902669 w 1367015"/>
              <a:gd name="connsiteY63" fmla="*/ 797021 h 1238250"/>
              <a:gd name="connsiteX64" fmla="*/ 901955 w 1367015"/>
              <a:gd name="connsiteY64" fmla="*/ 797733 h 1238250"/>
              <a:gd name="connsiteX65" fmla="*/ 758388 w 1367015"/>
              <a:gd name="connsiteY65" fmla="*/ 846138 h 1238250"/>
              <a:gd name="connsiteX66" fmla="*/ 588393 w 1367015"/>
              <a:gd name="connsiteY66" fmla="*/ 774242 h 1238250"/>
              <a:gd name="connsiteX67" fmla="*/ 551251 w 1367015"/>
              <a:gd name="connsiteY67" fmla="*/ 500893 h 1238250"/>
              <a:gd name="connsiteX68" fmla="*/ 648391 w 1367015"/>
              <a:gd name="connsiteY68" fmla="*/ 547875 h 1238250"/>
              <a:gd name="connsiteX69" fmla="*/ 761245 w 1367015"/>
              <a:gd name="connsiteY69" fmla="*/ 657499 h 1238250"/>
              <a:gd name="connsiteX70" fmla="*/ 866956 w 1367015"/>
              <a:gd name="connsiteY70" fmla="*/ 584179 h 1238250"/>
              <a:gd name="connsiteX71" fmla="*/ 874813 w 1367015"/>
              <a:gd name="connsiteY71" fmla="*/ 544316 h 1238250"/>
              <a:gd name="connsiteX72" fmla="*/ 873384 w 1367015"/>
              <a:gd name="connsiteY72" fmla="*/ 530079 h 1238250"/>
              <a:gd name="connsiteX73" fmla="*/ 872670 w 1367015"/>
              <a:gd name="connsiteY73" fmla="*/ 522961 h 1238250"/>
              <a:gd name="connsiteX74" fmla="*/ 877670 w 1367015"/>
              <a:gd name="connsiteY74" fmla="*/ 518690 h 1238250"/>
              <a:gd name="connsiteX75" fmla="*/ 911955 w 1367015"/>
              <a:gd name="connsiteY75" fmla="*/ 491639 h 1238250"/>
              <a:gd name="connsiteX76" fmla="*/ 943382 w 1367015"/>
              <a:gd name="connsiteY76" fmla="*/ 466725 h 1238250"/>
              <a:gd name="connsiteX77" fmla="*/ 891455 w 1367015"/>
              <a:gd name="connsiteY77" fmla="*/ 415925 h 1238250"/>
              <a:gd name="connsiteX78" fmla="*/ 915035 w 1367015"/>
              <a:gd name="connsiteY78" fmla="*/ 434485 h 1238250"/>
              <a:gd name="connsiteX79" fmla="*/ 920751 w 1367015"/>
              <a:gd name="connsiteY79" fmla="*/ 439482 h 1238250"/>
              <a:gd name="connsiteX80" fmla="*/ 877164 w 1367015"/>
              <a:gd name="connsiteY80" fmla="*/ 474460 h 1238250"/>
              <a:gd name="connsiteX81" fmla="*/ 850012 w 1367015"/>
              <a:gd name="connsiteY81" fmla="*/ 496589 h 1238250"/>
              <a:gd name="connsiteX82" fmla="*/ 838579 w 1367015"/>
              <a:gd name="connsiteY82" fmla="*/ 505155 h 1238250"/>
              <a:gd name="connsiteX83" fmla="*/ 844296 w 1367015"/>
              <a:gd name="connsiteY83" fmla="*/ 519432 h 1238250"/>
              <a:gd name="connsiteX84" fmla="*/ 847154 w 1367015"/>
              <a:gd name="connsiteY84" fmla="*/ 542989 h 1238250"/>
              <a:gd name="connsiteX85" fmla="*/ 845725 w 1367015"/>
              <a:gd name="connsiteY85" fmla="*/ 561549 h 1238250"/>
              <a:gd name="connsiteX86" fmla="*/ 824289 w 1367015"/>
              <a:gd name="connsiteY86" fmla="*/ 601524 h 1238250"/>
              <a:gd name="connsiteX87" fmla="*/ 761409 w 1367015"/>
              <a:gd name="connsiteY87" fmla="*/ 628650 h 1238250"/>
              <a:gd name="connsiteX88" fmla="*/ 676379 w 1367015"/>
              <a:gd name="connsiteY88" fmla="*/ 542989 h 1238250"/>
              <a:gd name="connsiteX89" fmla="*/ 678523 w 1367015"/>
              <a:gd name="connsiteY89" fmla="*/ 523715 h 1238250"/>
              <a:gd name="connsiteX90" fmla="*/ 582775 w 1367015"/>
              <a:gd name="connsiteY90" fmla="*/ 477316 h 1238250"/>
              <a:gd name="connsiteX91" fmla="*/ 569913 w 1367015"/>
              <a:gd name="connsiteY91" fmla="*/ 470891 h 1238250"/>
              <a:gd name="connsiteX92" fmla="*/ 594208 w 1367015"/>
              <a:gd name="connsiteY92" fmla="*/ 441623 h 1238250"/>
              <a:gd name="connsiteX93" fmla="*/ 694957 w 1367015"/>
              <a:gd name="connsiteY93" fmla="*/ 490165 h 1238250"/>
              <a:gd name="connsiteX94" fmla="*/ 715679 w 1367015"/>
              <a:gd name="connsiteY94" fmla="*/ 470891 h 1238250"/>
              <a:gd name="connsiteX95" fmla="*/ 761409 w 1367015"/>
              <a:gd name="connsiteY95" fmla="*/ 457328 h 1238250"/>
              <a:gd name="connsiteX96" fmla="*/ 789991 w 1367015"/>
              <a:gd name="connsiteY96" fmla="*/ 462325 h 1238250"/>
              <a:gd name="connsiteX97" fmla="*/ 815714 w 1367015"/>
              <a:gd name="connsiteY97" fmla="*/ 476602 h 1238250"/>
              <a:gd name="connsiteX98" fmla="*/ 831434 w 1367015"/>
              <a:gd name="connsiteY98" fmla="*/ 464466 h 1238250"/>
              <a:gd name="connsiteX99" fmla="*/ 891455 w 1367015"/>
              <a:gd name="connsiteY99" fmla="*/ 415925 h 1238250"/>
              <a:gd name="connsiteX100" fmla="*/ 772661 w 1367015"/>
              <a:gd name="connsiteY100" fmla="*/ 346605 h 1238250"/>
              <a:gd name="connsiteX101" fmla="*/ 628158 w 1367015"/>
              <a:gd name="connsiteY101" fmla="*/ 379415 h 1238250"/>
              <a:gd name="connsiteX102" fmla="*/ 571784 w 1367015"/>
              <a:gd name="connsiteY102" fmla="*/ 420783 h 1238250"/>
              <a:gd name="connsiteX103" fmla="*/ 546809 w 1367015"/>
              <a:gd name="connsiteY103" fmla="*/ 449314 h 1238250"/>
              <a:gd name="connsiteX104" fmla="*/ 524687 w 1367015"/>
              <a:gd name="connsiteY104" fmla="*/ 482123 h 1238250"/>
              <a:gd name="connsiteX105" fmla="*/ 564648 w 1367015"/>
              <a:gd name="connsiteY105" fmla="*/ 800235 h 1238250"/>
              <a:gd name="connsiteX106" fmla="*/ 678110 w 1367015"/>
              <a:gd name="connsiteY106" fmla="*/ 869420 h 1238250"/>
              <a:gd name="connsiteX107" fmla="*/ 837955 w 1367015"/>
              <a:gd name="connsiteY107" fmla="*/ 869420 h 1238250"/>
              <a:gd name="connsiteX108" fmla="*/ 921445 w 1367015"/>
              <a:gd name="connsiteY108" fmla="*/ 826625 h 1238250"/>
              <a:gd name="connsiteX109" fmla="*/ 944280 w 1367015"/>
              <a:gd name="connsiteY109" fmla="*/ 807367 h 1238250"/>
              <a:gd name="connsiteX110" fmla="*/ 967115 w 1367015"/>
              <a:gd name="connsiteY110" fmla="*/ 783117 h 1238250"/>
              <a:gd name="connsiteX111" fmla="*/ 959979 w 1367015"/>
              <a:gd name="connsiteY111" fmla="*/ 437902 h 1238250"/>
              <a:gd name="connsiteX112" fmla="*/ 951416 w 1367015"/>
              <a:gd name="connsiteY112" fmla="*/ 427916 h 1238250"/>
              <a:gd name="connsiteX113" fmla="*/ 937858 w 1367015"/>
              <a:gd name="connsiteY113" fmla="*/ 415791 h 1238250"/>
              <a:gd name="connsiteX114" fmla="*/ 912882 w 1367015"/>
              <a:gd name="connsiteY114" fmla="*/ 395106 h 1238250"/>
              <a:gd name="connsiteX115" fmla="*/ 772661 w 1367015"/>
              <a:gd name="connsiteY115" fmla="*/ 346605 h 1238250"/>
              <a:gd name="connsiteX116" fmla="*/ 785477 w 1367015"/>
              <a:gd name="connsiteY116" fmla="*/ 308032 h 1238250"/>
              <a:gd name="connsiteX117" fmla="*/ 945296 w 1367015"/>
              <a:gd name="connsiteY117" fmla="*/ 370115 h 1238250"/>
              <a:gd name="connsiteX118" fmla="*/ 969609 w 1367015"/>
              <a:gd name="connsiteY118" fmla="*/ 390809 h 1238250"/>
              <a:gd name="connsiteX119" fmla="*/ 980335 w 1367015"/>
              <a:gd name="connsiteY119" fmla="*/ 400799 h 1238250"/>
              <a:gd name="connsiteX120" fmla="*/ 991061 w 1367015"/>
              <a:gd name="connsiteY120" fmla="*/ 413644 h 1238250"/>
              <a:gd name="connsiteX121" fmla="*/ 1008223 w 1367015"/>
              <a:gd name="connsiteY121" fmla="*/ 791852 h 1238250"/>
              <a:gd name="connsiteX122" fmla="*/ 1080445 w 1367015"/>
              <a:gd name="connsiteY122" fmla="*/ 866780 h 1238250"/>
              <a:gd name="connsiteX123" fmla="*/ 1081875 w 1367015"/>
              <a:gd name="connsiteY123" fmla="*/ 868921 h 1238250"/>
              <a:gd name="connsiteX124" fmla="*/ 1081875 w 1367015"/>
              <a:gd name="connsiteY124" fmla="*/ 876770 h 1238250"/>
              <a:gd name="connsiteX125" fmla="*/ 1056848 w 1367015"/>
              <a:gd name="connsiteY125" fmla="*/ 900319 h 1238250"/>
              <a:gd name="connsiteX126" fmla="*/ 1055418 w 1367015"/>
              <a:gd name="connsiteY126" fmla="*/ 901746 h 1238250"/>
              <a:gd name="connsiteX127" fmla="*/ 1023954 w 1367015"/>
              <a:gd name="connsiteY127" fmla="*/ 931717 h 1238250"/>
              <a:gd name="connsiteX128" fmla="*/ 1014658 w 1367015"/>
              <a:gd name="connsiteY128" fmla="*/ 940994 h 1238250"/>
              <a:gd name="connsiteX129" fmla="*/ 1003217 w 1367015"/>
              <a:gd name="connsiteY129" fmla="*/ 940994 h 1238250"/>
              <a:gd name="connsiteX130" fmla="*/ 993921 w 1367015"/>
              <a:gd name="connsiteY130" fmla="*/ 931717 h 1238250"/>
              <a:gd name="connsiteX131" fmla="*/ 963888 w 1367015"/>
              <a:gd name="connsiteY131" fmla="*/ 900319 h 1238250"/>
              <a:gd name="connsiteX132" fmla="*/ 933140 w 1367015"/>
              <a:gd name="connsiteY132" fmla="*/ 868921 h 1238250"/>
              <a:gd name="connsiteX133" fmla="*/ 930995 w 1367015"/>
              <a:gd name="connsiteY133" fmla="*/ 866780 h 1238250"/>
              <a:gd name="connsiteX134" fmla="*/ 926704 w 1367015"/>
              <a:gd name="connsiteY134" fmla="*/ 868921 h 1238250"/>
              <a:gd name="connsiteX135" fmla="*/ 864493 w 1367015"/>
              <a:gd name="connsiteY135" fmla="*/ 900319 h 1238250"/>
              <a:gd name="connsiteX136" fmla="*/ 651400 w 1367015"/>
              <a:gd name="connsiteY136" fmla="*/ 900319 h 1238250"/>
              <a:gd name="connsiteX137" fmla="*/ 589189 w 1367015"/>
              <a:gd name="connsiteY137" fmla="*/ 868921 h 1238250"/>
              <a:gd name="connsiteX138" fmla="*/ 536988 w 1367015"/>
              <a:gd name="connsiteY138" fmla="*/ 826105 h 1238250"/>
              <a:gd name="connsiteX139" fmla="*/ 457615 w 1367015"/>
              <a:gd name="connsiteY139" fmla="*/ 554937 h 1238250"/>
              <a:gd name="connsiteX140" fmla="*/ 481213 w 1367015"/>
              <a:gd name="connsiteY140" fmla="*/ 482863 h 1238250"/>
              <a:gd name="connsiteX141" fmla="*/ 530553 w 1367015"/>
              <a:gd name="connsiteY141" fmla="*/ 408649 h 1238250"/>
              <a:gd name="connsiteX142" fmla="*/ 545569 w 1367015"/>
              <a:gd name="connsiteY142" fmla="*/ 392236 h 1238250"/>
              <a:gd name="connsiteX143" fmla="*/ 592049 w 1367015"/>
              <a:gd name="connsiteY143" fmla="*/ 355843 h 1238250"/>
              <a:gd name="connsiteX144" fmla="*/ 619222 w 1367015"/>
              <a:gd name="connsiteY144" fmla="*/ 340143 h 1238250"/>
              <a:gd name="connsiteX145" fmla="*/ 785477 w 1367015"/>
              <a:gd name="connsiteY145" fmla="*/ 308032 h 1238250"/>
              <a:gd name="connsiteX146" fmla="*/ 555676 w 1367015"/>
              <a:gd name="connsiteY146" fmla="*/ 304800 h 1238250"/>
              <a:gd name="connsiteX147" fmla="*/ 595313 w 1367015"/>
              <a:gd name="connsiteY147" fmla="*/ 316982 h 1238250"/>
              <a:gd name="connsiteX148" fmla="*/ 563462 w 1367015"/>
              <a:gd name="connsiteY148" fmla="*/ 337046 h 1238250"/>
              <a:gd name="connsiteX149" fmla="*/ 555676 w 1367015"/>
              <a:gd name="connsiteY149" fmla="*/ 336330 h 1238250"/>
              <a:gd name="connsiteX150" fmla="*/ 515331 w 1367015"/>
              <a:gd name="connsiteY150" fmla="*/ 377175 h 1238250"/>
              <a:gd name="connsiteX151" fmla="*/ 515331 w 1367015"/>
              <a:gd name="connsiteY151" fmla="*/ 379325 h 1238250"/>
              <a:gd name="connsiteX152" fmla="*/ 490558 w 1367015"/>
              <a:gd name="connsiteY152" fmla="*/ 407988 h 1238250"/>
              <a:gd name="connsiteX153" fmla="*/ 484188 w 1367015"/>
              <a:gd name="connsiteY153" fmla="*/ 377175 h 1238250"/>
              <a:gd name="connsiteX154" fmla="*/ 555676 w 1367015"/>
              <a:gd name="connsiteY154" fmla="*/ 304800 h 1238250"/>
              <a:gd name="connsiteX155" fmla="*/ 1089384 w 1367015"/>
              <a:gd name="connsiteY155" fmla="*/ 233362 h 1238250"/>
              <a:gd name="connsiteX156" fmla="*/ 1047750 w 1367015"/>
              <a:gd name="connsiteY156" fmla="*/ 274996 h 1238250"/>
              <a:gd name="connsiteX157" fmla="*/ 1049186 w 1367015"/>
              <a:gd name="connsiteY157" fmla="*/ 286481 h 1238250"/>
              <a:gd name="connsiteX158" fmla="*/ 1069285 w 1367015"/>
              <a:gd name="connsiteY158" fmla="*/ 310887 h 1238250"/>
              <a:gd name="connsiteX159" fmla="*/ 1089384 w 1367015"/>
              <a:gd name="connsiteY159" fmla="*/ 315912 h 1238250"/>
              <a:gd name="connsiteX160" fmla="*/ 1130300 w 1367015"/>
              <a:gd name="connsiteY160" fmla="*/ 274996 h 1238250"/>
              <a:gd name="connsiteX161" fmla="*/ 1128865 w 1367015"/>
              <a:gd name="connsiteY161" fmla="*/ 264229 h 1238250"/>
              <a:gd name="connsiteX162" fmla="*/ 1109483 w 1367015"/>
              <a:gd name="connsiteY162" fmla="*/ 239105 h 1238250"/>
              <a:gd name="connsiteX163" fmla="*/ 1089384 w 1367015"/>
              <a:gd name="connsiteY163" fmla="*/ 233362 h 1238250"/>
              <a:gd name="connsiteX164" fmla="*/ 1243012 w 1367015"/>
              <a:gd name="connsiteY164" fmla="*/ 215900 h 1238250"/>
              <a:gd name="connsiteX165" fmla="*/ 1243012 w 1367015"/>
              <a:gd name="connsiteY165" fmla="*/ 869950 h 1238250"/>
              <a:gd name="connsiteX166" fmla="*/ 1160916 w 1367015"/>
              <a:gd name="connsiteY166" fmla="*/ 869950 h 1238250"/>
              <a:gd name="connsiteX167" fmla="*/ 1158775 w 1367015"/>
              <a:gd name="connsiteY167" fmla="*/ 867808 h 1238250"/>
              <a:gd name="connsiteX168" fmla="*/ 1130934 w 1367015"/>
              <a:gd name="connsiteY168" fmla="*/ 854242 h 1238250"/>
              <a:gd name="connsiteX169" fmla="*/ 1128078 w 1367015"/>
              <a:gd name="connsiteY169" fmla="*/ 853528 h 1238250"/>
              <a:gd name="connsiteX170" fmla="*/ 1125936 w 1367015"/>
              <a:gd name="connsiteY170" fmla="*/ 853528 h 1238250"/>
              <a:gd name="connsiteX171" fmla="*/ 1110231 w 1367015"/>
              <a:gd name="connsiteY171" fmla="*/ 856384 h 1238250"/>
              <a:gd name="connsiteX172" fmla="*/ 1102378 w 1367015"/>
              <a:gd name="connsiteY172" fmla="*/ 845673 h 1238250"/>
              <a:gd name="connsiteX173" fmla="*/ 1048124 w 1367015"/>
              <a:gd name="connsiteY173" fmla="*/ 789265 h 1238250"/>
              <a:gd name="connsiteX174" fmla="*/ 1015999 w 1367015"/>
              <a:gd name="connsiteY174" fmla="*/ 394407 h 1238250"/>
              <a:gd name="connsiteX175" fmla="*/ 1047410 w 1367015"/>
              <a:gd name="connsiteY175" fmla="*/ 369416 h 1238250"/>
              <a:gd name="connsiteX176" fmla="*/ 1090242 w 1367015"/>
              <a:gd name="connsiteY176" fmla="*/ 378698 h 1238250"/>
              <a:gd name="connsiteX177" fmla="*/ 1193755 w 1367015"/>
              <a:gd name="connsiteY177" fmla="*/ 275164 h 1238250"/>
              <a:gd name="connsiteX178" fmla="*/ 1191613 w 1367015"/>
              <a:gd name="connsiteY178" fmla="*/ 255885 h 1238250"/>
              <a:gd name="connsiteX179" fmla="*/ 15705 w 1367015"/>
              <a:gd name="connsiteY179" fmla="*/ 0 h 1238250"/>
              <a:gd name="connsiteX180" fmla="*/ 1289220 w 1367015"/>
              <a:gd name="connsiteY180" fmla="*/ 0 h 1238250"/>
              <a:gd name="connsiteX181" fmla="*/ 1304925 w 1367015"/>
              <a:gd name="connsiteY181" fmla="*/ 15698 h 1238250"/>
              <a:gd name="connsiteX182" fmla="*/ 1304925 w 1367015"/>
              <a:gd name="connsiteY182" fmla="*/ 916166 h 1238250"/>
              <a:gd name="connsiteX183" fmla="*/ 1289220 w 1367015"/>
              <a:gd name="connsiteY183" fmla="*/ 931863 h 1238250"/>
              <a:gd name="connsiteX184" fmla="*/ 1219977 w 1367015"/>
              <a:gd name="connsiteY184" fmla="*/ 931863 h 1238250"/>
              <a:gd name="connsiteX185" fmla="*/ 1189995 w 1367015"/>
              <a:gd name="connsiteY185" fmla="*/ 900468 h 1238250"/>
              <a:gd name="connsiteX186" fmla="*/ 1273516 w 1367015"/>
              <a:gd name="connsiteY186" fmla="*/ 900468 h 1238250"/>
              <a:gd name="connsiteX187" fmla="*/ 1273516 w 1367015"/>
              <a:gd name="connsiteY187" fmla="*/ 151267 h 1238250"/>
              <a:gd name="connsiteX188" fmla="*/ 1242106 w 1367015"/>
              <a:gd name="connsiteY188" fmla="*/ 175527 h 1238250"/>
              <a:gd name="connsiteX189" fmla="*/ 1154302 w 1367015"/>
              <a:gd name="connsiteY189" fmla="*/ 243312 h 1238250"/>
              <a:gd name="connsiteX190" fmla="*/ 1161441 w 1367015"/>
              <a:gd name="connsiteY190" fmla="*/ 274707 h 1238250"/>
              <a:gd name="connsiteX191" fmla="*/ 1089341 w 1367015"/>
              <a:gd name="connsiteY191" fmla="*/ 346773 h 1238250"/>
              <a:gd name="connsiteX192" fmla="*/ 1043655 w 1367015"/>
              <a:gd name="connsiteY192" fmla="*/ 331076 h 1238250"/>
              <a:gd name="connsiteX193" fmla="*/ 993685 w 1367015"/>
              <a:gd name="connsiteY193" fmla="*/ 371033 h 1238250"/>
              <a:gd name="connsiteX194" fmla="*/ 969414 w 1367015"/>
              <a:gd name="connsiteY194" fmla="*/ 349627 h 1238250"/>
              <a:gd name="connsiteX195" fmla="*/ 1024381 w 1367015"/>
              <a:gd name="connsiteY195" fmla="*/ 306102 h 1238250"/>
              <a:gd name="connsiteX196" fmla="*/ 1016528 w 1367015"/>
              <a:gd name="connsiteY196" fmla="*/ 274707 h 1238250"/>
              <a:gd name="connsiteX197" fmla="*/ 1089341 w 1367015"/>
              <a:gd name="connsiteY197" fmla="*/ 201928 h 1238250"/>
              <a:gd name="connsiteX198" fmla="*/ 1135028 w 1367015"/>
              <a:gd name="connsiteY198" fmla="*/ 219052 h 1238250"/>
              <a:gd name="connsiteX199" fmla="*/ 1242106 w 1367015"/>
              <a:gd name="connsiteY199" fmla="*/ 136283 h 1238250"/>
              <a:gd name="connsiteX200" fmla="*/ 1269946 w 1367015"/>
              <a:gd name="connsiteY200" fmla="*/ 114878 h 1238250"/>
              <a:gd name="connsiteX201" fmla="*/ 1273516 w 1367015"/>
              <a:gd name="connsiteY201" fmla="*/ 112737 h 1238250"/>
              <a:gd name="connsiteX202" fmla="*/ 1273516 w 1367015"/>
              <a:gd name="connsiteY202" fmla="*/ 31395 h 1238250"/>
              <a:gd name="connsiteX203" fmla="*/ 31410 w 1367015"/>
              <a:gd name="connsiteY203" fmla="*/ 31395 h 1238250"/>
              <a:gd name="connsiteX204" fmla="*/ 31410 w 1367015"/>
              <a:gd name="connsiteY204" fmla="*/ 741352 h 1238250"/>
              <a:gd name="connsiteX205" fmla="*/ 62819 w 1367015"/>
              <a:gd name="connsiteY205" fmla="*/ 726368 h 1238250"/>
              <a:gd name="connsiteX206" fmla="*/ 276976 w 1367015"/>
              <a:gd name="connsiteY206" fmla="*/ 623621 h 1238250"/>
              <a:gd name="connsiteX207" fmla="*/ 274834 w 1367015"/>
              <a:gd name="connsiteY207" fmla="*/ 607210 h 1238250"/>
              <a:gd name="connsiteX208" fmla="*/ 346933 w 1367015"/>
              <a:gd name="connsiteY208" fmla="*/ 534430 h 1238250"/>
              <a:gd name="connsiteX209" fmla="*/ 383340 w 1367015"/>
              <a:gd name="connsiteY209" fmla="*/ 543706 h 1238250"/>
              <a:gd name="connsiteX210" fmla="*/ 454725 w 1367015"/>
              <a:gd name="connsiteY210" fmla="*/ 465218 h 1238250"/>
              <a:gd name="connsiteX211" fmla="*/ 429026 w 1367015"/>
              <a:gd name="connsiteY211" fmla="*/ 540138 h 1238250"/>
              <a:gd name="connsiteX212" fmla="*/ 406183 w 1367015"/>
              <a:gd name="connsiteY212" fmla="*/ 565112 h 1238250"/>
              <a:gd name="connsiteX213" fmla="*/ 419746 w 1367015"/>
              <a:gd name="connsiteY213" fmla="*/ 607210 h 1238250"/>
              <a:gd name="connsiteX214" fmla="*/ 346933 w 1367015"/>
              <a:gd name="connsiteY214" fmla="*/ 679275 h 1238250"/>
              <a:gd name="connsiteX215" fmla="*/ 290539 w 1367015"/>
              <a:gd name="connsiteY215" fmla="*/ 651448 h 1238250"/>
              <a:gd name="connsiteX216" fmla="*/ 62819 w 1367015"/>
              <a:gd name="connsiteY216" fmla="*/ 761331 h 1238250"/>
              <a:gd name="connsiteX217" fmla="*/ 31410 w 1367015"/>
              <a:gd name="connsiteY217" fmla="*/ 776315 h 1238250"/>
              <a:gd name="connsiteX218" fmla="*/ 31410 w 1367015"/>
              <a:gd name="connsiteY218" fmla="*/ 900468 h 1238250"/>
              <a:gd name="connsiteX219" fmla="*/ 579650 w 1367015"/>
              <a:gd name="connsiteY219" fmla="*/ 900468 h 1238250"/>
              <a:gd name="connsiteX220" fmla="*/ 645324 w 1367015"/>
              <a:gd name="connsiteY220" fmla="*/ 931863 h 1238250"/>
              <a:gd name="connsiteX221" fmla="*/ 15705 w 1367015"/>
              <a:gd name="connsiteY221" fmla="*/ 931863 h 1238250"/>
              <a:gd name="connsiteX222" fmla="*/ 0 w 1367015"/>
              <a:gd name="connsiteY222" fmla="*/ 916166 h 1238250"/>
              <a:gd name="connsiteX223" fmla="*/ 0 w 1367015"/>
              <a:gd name="connsiteY223" fmla="*/ 15698 h 1238250"/>
              <a:gd name="connsiteX224" fmla="*/ 15705 w 1367015"/>
              <a:gd name="connsiteY224" fmla="*/ 0 h 123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</a:cxnLst>
            <a:rect l="l" t="t" r="r" b="b"/>
            <a:pathLst>
              <a:path w="1367015" h="1238250">
                <a:moveTo>
                  <a:pt x="1124567" y="922337"/>
                </a:moveTo>
                <a:cubicBezTo>
                  <a:pt x="1124567" y="922337"/>
                  <a:pt x="1124567" y="922337"/>
                  <a:pt x="1113855" y="931647"/>
                </a:cubicBezTo>
                <a:cubicBezTo>
                  <a:pt x="1113855" y="931647"/>
                  <a:pt x="1113855" y="931647"/>
                  <a:pt x="1058863" y="985360"/>
                </a:cubicBezTo>
                <a:cubicBezTo>
                  <a:pt x="1269544" y="1205939"/>
                  <a:pt x="1269544" y="1205939"/>
                  <a:pt x="1269544" y="1205939"/>
                </a:cubicBezTo>
                <a:cubicBezTo>
                  <a:pt x="1270258" y="1206655"/>
                  <a:pt x="1274543" y="1208087"/>
                  <a:pt x="1282399" y="1205939"/>
                </a:cubicBezTo>
                <a:cubicBezTo>
                  <a:pt x="1292398" y="1203074"/>
                  <a:pt x="1303110" y="1195912"/>
                  <a:pt x="1313109" y="1185886"/>
                </a:cubicBezTo>
                <a:cubicBezTo>
                  <a:pt x="1323107" y="1176576"/>
                  <a:pt x="1330963" y="1165833"/>
                  <a:pt x="1333820" y="1155807"/>
                </a:cubicBezTo>
                <a:cubicBezTo>
                  <a:pt x="1336676" y="1147929"/>
                  <a:pt x="1335962" y="1143632"/>
                  <a:pt x="1335248" y="1142916"/>
                </a:cubicBezTo>
                <a:cubicBezTo>
                  <a:pt x="1198841" y="1000399"/>
                  <a:pt x="1150277" y="949551"/>
                  <a:pt x="1133851" y="931647"/>
                </a:cubicBezTo>
                <a:cubicBezTo>
                  <a:pt x="1124567" y="922337"/>
                  <a:pt x="1124567" y="922337"/>
                  <a:pt x="1124567" y="922337"/>
                </a:cubicBezTo>
                <a:close/>
                <a:moveTo>
                  <a:pt x="925229" y="906462"/>
                </a:moveTo>
                <a:cubicBezTo>
                  <a:pt x="925229" y="906462"/>
                  <a:pt x="925229" y="906462"/>
                  <a:pt x="949325" y="931862"/>
                </a:cubicBezTo>
                <a:cubicBezTo>
                  <a:pt x="949325" y="931862"/>
                  <a:pt x="949325" y="931862"/>
                  <a:pt x="869950" y="931862"/>
                </a:cubicBezTo>
                <a:cubicBezTo>
                  <a:pt x="889085" y="925331"/>
                  <a:pt x="907512" y="916622"/>
                  <a:pt x="925229" y="906462"/>
                </a:cubicBezTo>
                <a:close/>
                <a:moveTo>
                  <a:pt x="1124927" y="884237"/>
                </a:moveTo>
                <a:cubicBezTo>
                  <a:pt x="1129214" y="884952"/>
                  <a:pt x="1132787" y="886383"/>
                  <a:pt x="1135645" y="889243"/>
                </a:cubicBezTo>
                <a:cubicBezTo>
                  <a:pt x="1139218" y="893534"/>
                  <a:pt x="1142790" y="897110"/>
                  <a:pt x="1146363" y="900686"/>
                </a:cubicBezTo>
                <a:cubicBezTo>
                  <a:pt x="1157081" y="912129"/>
                  <a:pt x="1167085" y="922857"/>
                  <a:pt x="1176374" y="932154"/>
                </a:cubicBezTo>
                <a:cubicBezTo>
                  <a:pt x="1357152" y="1121676"/>
                  <a:pt x="1357152" y="1121676"/>
                  <a:pt x="1357152" y="1121676"/>
                </a:cubicBezTo>
                <a:cubicBezTo>
                  <a:pt x="1367155" y="1131689"/>
                  <a:pt x="1370013" y="1148138"/>
                  <a:pt x="1363582" y="1166017"/>
                </a:cubicBezTo>
                <a:cubicBezTo>
                  <a:pt x="1358581" y="1181036"/>
                  <a:pt x="1348577" y="1196055"/>
                  <a:pt x="1335001" y="1208928"/>
                </a:cubicBezTo>
                <a:cubicBezTo>
                  <a:pt x="1321425" y="1221801"/>
                  <a:pt x="1305705" y="1231814"/>
                  <a:pt x="1290700" y="1236105"/>
                </a:cubicBezTo>
                <a:cubicBezTo>
                  <a:pt x="1284983" y="1237535"/>
                  <a:pt x="1279267" y="1238250"/>
                  <a:pt x="1273551" y="1238250"/>
                </a:cubicBezTo>
                <a:cubicBezTo>
                  <a:pt x="1262833" y="1238250"/>
                  <a:pt x="1252829" y="1234674"/>
                  <a:pt x="1246398" y="1227522"/>
                </a:cubicBezTo>
                <a:cubicBezTo>
                  <a:pt x="1024892" y="996520"/>
                  <a:pt x="1024892" y="996520"/>
                  <a:pt x="1024892" y="996520"/>
                </a:cubicBezTo>
                <a:cubicBezTo>
                  <a:pt x="1019175" y="990083"/>
                  <a:pt x="1019175" y="980071"/>
                  <a:pt x="1025606" y="974350"/>
                </a:cubicBezTo>
                <a:cubicBezTo>
                  <a:pt x="1042755" y="957185"/>
                  <a:pt x="1057046" y="943597"/>
                  <a:pt x="1068478" y="932154"/>
                </a:cubicBezTo>
                <a:cubicBezTo>
                  <a:pt x="1071336" y="930009"/>
                  <a:pt x="1073480" y="927148"/>
                  <a:pt x="1076338" y="925002"/>
                </a:cubicBezTo>
                <a:cubicBezTo>
                  <a:pt x="1087771" y="914275"/>
                  <a:pt x="1095631" y="906408"/>
                  <a:pt x="1100633" y="900686"/>
                </a:cubicBezTo>
                <a:cubicBezTo>
                  <a:pt x="1102062" y="899971"/>
                  <a:pt x="1103491" y="898541"/>
                  <a:pt x="1104205" y="897826"/>
                </a:cubicBezTo>
                <a:cubicBezTo>
                  <a:pt x="1113494" y="889243"/>
                  <a:pt x="1113494" y="889243"/>
                  <a:pt x="1113494" y="889243"/>
                </a:cubicBezTo>
                <a:cubicBezTo>
                  <a:pt x="1116352" y="886383"/>
                  <a:pt x="1120640" y="884237"/>
                  <a:pt x="1124927" y="884237"/>
                </a:cubicBezTo>
                <a:close/>
                <a:moveTo>
                  <a:pt x="425773" y="674687"/>
                </a:moveTo>
                <a:cubicBezTo>
                  <a:pt x="437211" y="737629"/>
                  <a:pt x="466520" y="798425"/>
                  <a:pt x="514415" y="848493"/>
                </a:cubicBezTo>
                <a:cubicBezTo>
                  <a:pt x="521563" y="856360"/>
                  <a:pt x="528712" y="863513"/>
                  <a:pt x="536575" y="869950"/>
                </a:cubicBezTo>
                <a:cubicBezTo>
                  <a:pt x="536575" y="869950"/>
                  <a:pt x="536575" y="869950"/>
                  <a:pt x="61912" y="869950"/>
                </a:cubicBezTo>
                <a:cubicBezTo>
                  <a:pt x="61912" y="869950"/>
                  <a:pt x="61912" y="869950"/>
                  <a:pt x="61912" y="796995"/>
                </a:cubicBezTo>
                <a:cubicBezTo>
                  <a:pt x="61912" y="796995"/>
                  <a:pt x="61912" y="796995"/>
                  <a:pt x="283517" y="689707"/>
                </a:cubicBezTo>
                <a:cubicBezTo>
                  <a:pt x="301388" y="703297"/>
                  <a:pt x="323549" y="711165"/>
                  <a:pt x="346424" y="711165"/>
                </a:cubicBezTo>
                <a:cubicBezTo>
                  <a:pt x="378593" y="711165"/>
                  <a:pt x="406472" y="696860"/>
                  <a:pt x="425773" y="674687"/>
                </a:cubicBezTo>
                <a:close/>
                <a:moveTo>
                  <a:pt x="346518" y="565150"/>
                </a:moveTo>
                <a:cubicBezTo>
                  <a:pt x="324693" y="565150"/>
                  <a:pt x="306388" y="583814"/>
                  <a:pt x="306388" y="606784"/>
                </a:cubicBezTo>
                <a:cubicBezTo>
                  <a:pt x="306388" y="607502"/>
                  <a:pt x="306388" y="608220"/>
                  <a:pt x="306388" y="608938"/>
                </a:cubicBezTo>
                <a:cubicBezTo>
                  <a:pt x="307092" y="619705"/>
                  <a:pt x="312020" y="630472"/>
                  <a:pt x="319765" y="636933"/>
                </a:cubicBezTo>
                <a:cubicBezTo>
                  <a:pt x="326805" y="643393"/>
                  <a:pt x="336661" y="647700"/>
                  <a:pt x="346518" y="647700"/>
                </a:cubicBezTo>
                <a:cubicBezTo>
                  <a:pt x="369047" y="647700"/>
                  <a:pt x="387351" y="629037"/>
                  <a:pt x="387351" y="606784"/>
                </a:cubicBezTo>
                <a:cubicBezTo>
                  <a:pt x="387351" y="600324"/>
                  <a:pt x="385943" y="594581"/>
                  <a:pt x="383127" y="588838"/>
                </a:cubicBezTo>
                <a:cubicBezTo>
                  <a:pt x="378903" y="578789"/>
                  <a:pt x="370455" y="571611"/>
                  <a:pt x="360598" y="568021"/>
                </a:cubicBezTo>
                <a:cubicBezTo>
                  <a:pt x="356374" y="565868"/>
                  <a:pt x="351446" y="565150"/>
                  <a:pt x="346518" y="565150"/>
                </a:cubicBezTo>
                <a:close/>
                <a:moveTo>
                  <a:pt x="760846" y="492125"/>
                </a:moveTo>
                <a:cubicBezTo>
                  <a:pt x="752187" y="492125"/>
                  <a:pt x="743528" y="494947"/>
                  <a:pt x="735591" y="499181"/>
                </a:cubicBezTo>
                <a:cubicBezTo>
                  <a:pt x="722602" y="506236"/>
                  <a:pt x="713221" y="519642"/>
                  <a:pt x="710335" y="535164"/>
                </a:cubicBezTo>
                <a:cubicBezTo>
                  <a:pt x="710335" y="537986"/>
                  <a:pt x="709613" y="540103"/>
                  <a:pt x="709613" y="542925"/>
                </a:cubicBezTo>
                <a:cubicBezTo>
                  <a:pt x="709613" y="571147"/>
                  <a:pt x="732704" y="593725"/>
                  <a:pt x="760846" y="593725"/>
                </a:cubicBezTo>
                <a:cubicBezTo>
                  <a:pt x="763011" y="593725"/>
                  <a:pt x="765176" y="593725"/>
                  <a:pt x="767341" y="593725"/>
                </a:cubicBezTo>
                <a:cubicBezTo>
                  <a:pt x="783216" y="591608"/>
                  <a:pt x="796926" y="583142"/>
                  <a:pt x="804864" y="570442"/>
                </a:cubicBezTo>
                <a:cubicBezTo>
                  <a:pt x="809915" y="562681"/>
                  <a:pt x="812801" y="553508"/>
                  <a:pt x="812801" y="542925"/>
                </a:cubicBezTo>
                <a:cubicBezTo>
                  <a:pt x="812801" y="542220"/>
                  <a:pt x="812801" y="540808"/>
                  <a:pt x="812801" y="539397"/>
                </a:cubicBezTo>
                <a:cubicBezTo>
                  <a:pt x="811358" y="515408"/>
                  <a:pt x="792597" y="495653"/>
                  <a:pt x="768062" y="492831"/>
                </a:cubicBezTo>
                <a:cubicBezTo>
                  <a:pt x="765898" y="492831"/>
                  <a:pt x="763733" y="492125"/>
                  <a:pt x="760846" y="492125"/>
                </a:cubicBezTo>
                <a:close/>
                <a:moveTo>
                  <a:pt x="943382" y="466725"/>
                </a:moveTo>
                <a:cubicBezTo>
                  <a:pt x="1010523" y="552146"/>
                  <a:pt x="1011237" y="673872"/>
                  <a:pt x="941239" y="759293"/>
                </a:cubicBezTo>
                <a:cubicBezTo>
                  <a:pt x="935525" y="767123"/>
                  <a:pt x="928383" y="774242"/>
                  <a:pt x="921240" y="780648"/>
                </a:cubicBezTo>
                <a:cubicBezTo>
                  <a:pt x="914097" y="787767"/>
                  <a:pt x="908383" y="793462"/>
                  <a:pt x="902669" y="797021"/>
                </a:cubicBezTo>
                <a:cubicBezTo>
                  <a:pt x="902669" y="797021"/>
                  <a:pt x="902669" y="797021"/>
                  <a:pt x="901955" y="797733"/>
                </a:cubicBezTo>
                <a:cubicBezTo>
                  <a:pt x="861242" y="829054"/>
                  <a:pt x="809815" y="846138"/>
                  <a:pt x="758388" y="846138"/>
                </a:cubicBezTo>
                <a:cubicBezTo>
                  <a:pt x="693390" y="846138"/>
                  <a:pt x="633392" y="820512"/>
                  <a:pt x="588393" y="774242"/>
                </a:cubicBezTo>
                <a:cubicBezTo>
                  <a:pt x="516967" y="699498"/>
                  <a:pt x="504824" y="588450"/>
                  <a:pt x="551251" y="500893"/>
                </a:cubicBezTo>
                <a:cubicBezTo>
                  <a:pt x="551251" y="500893"/>
                  <a:pt x="551251" y="500893"/>
                  <a:pt x="648391" y="547875"/>
                </a:cubicBezTo>
                <a:cubicBezTo>
                  <a:pt x="650534" y="608382"/>
                  <a:pt x="700533" y="657499"/>
                  <a:pt x="761245" y="657499"/>
                </a:cubicBezTo>
                <a:cubicBezTo>
                  <a:pt x="809815" y="657499"/>
                  <a:pt x="851242" y="626890"/>
                  <a:pt x="866956" y="584179"/>
                </a:cubicBezTo>
                <a:cubicBezTo>
                  <a:pt x="871956" y="572078"/>
                  <a:pt x="874813" y="558553"/>
                  <a:pt x="874813" y="544316"/>
                </a:cubicBezTo>
                <a:cubicBezTo>
                  <a:pt x="874813" y="539333"/>
                  <a:pt x="874099" y="535062"/>
                  <a:pt x="873384" y="530079"/>
                </a:cubicBezTo>
                <a:cubicBezTo>
                  <a:pt x="873384" y="527943"/>
                  <a:pt x="873384" y="525096"/>
                  <a:pt x="872670" y="522961"/>
                </a:cubicBezTo>
                <a:cubicBezTo>
                  <a:pt x="872670" y="522961"/>
                  <a:pt x="872670" y="522961"/>
                  <a:pt x="877670" y="518690"/>
                </a:cubicBezTo>
                <a:cubicBezTo>
                  <a:pt x="882670" y="515130"/>
                  <a:pt x="892669" y="507300"/>
                  <a:pt x="911955" y="491639"/>
                </a:cubicBezTo>
                <a:cubicBezTo>
                  <a:pt x="919811" y="485233"/>
                  <a:pt x="930525" y="476691"/>
                  <a:pt x="943382" y="466725"/>
                </a:cubicBezTo>
                <a:close/>
                <a:moveTo>
                  <a:pt x="891455" y="415925"/>
                </a:moveTo>
                <a:cubicBezTo>
                  <a:pt x="899315" y="421636"/>
                  <a:pt x="907175" y="428060"/>
                  <a:pt x="915035" y="434485"/>
                </a:cubicBezTo>
                <a:cubicBezTo>
                  <a:pt x="917179" y="435913"/>
                  <a:pt x="918608" y="438054"/>
                  <a:pt x="920751" y="439482"/>
                </a:cubicBezTo>
                <a:cubicBezTo>
                  <a:pt x="920751" y="439482"/>
                  <a:pt x="920751" y="439482"/>
                  <a:pt x="877164" y="474460"/>
                </a:cubicBezTo>
                <a:cubicBezTo>
                  <a:pt x="869305" y="480885"/>
                  <a:pt x="860730" y="488023"/>
                  <a:pt x="850012" y="496589"/>
                </a:cubicBezTo>
                <a:cubicBezTo>
                  <a:pt x="846439" y="499445"/>
                  <a:pt x="842867" y="502300"/>
                  <a:pt x="838579" y="505155"/>
                </a:cubicBezTo>
                <a:cubicBezTo>
                  <a:pt x="840723" y="510152"/>
                  <a:pt x="842867" y="514435"/>
                  <a:pt x="844296" y="519432"/>
                </a:cubicBezTo>
                <a:cubicBezTo>
                  <a:pt x="846439" y="527285"/>
                  <a:pt x="847154" y="535137"/>
                  <a:pt x="847154" y="542989"/>
                </a:cubicBezTo>
                <a:cubicBezTo>
                  <a:pt x="847154" y="549414"/>
                  <a:pt x="846439" y="555124"/>
                  <a:pt x="845725" y="561549"/>
                </a:cubicBezTo>
                <a:cubicBezTo>
                  <a:pt x="842152" y="576540"/>
                  <a:pt x="835007" y="590103"/>
                  <a:pt x="824289" y="601524"/>
                </a:cubicBezTo>
                <a:cubicBezTo>
                  <a:pt x="809283" y="617942"/>
                  <a:pt x="786418" y="628650"/>
                  <a:pt x="761409" y="628650"/>
                </a:cubicBezTo>
                <a:cubicBezTo>
                  <a:pt x="714250" y="628650"/>
                  <a:pt x="676379" y="590103"/>
                  <a:pt x="676379" y="542989"/>
                </a:cubicBezTo>
                <a:cubicBezTo>
                  <a:pt x="676379" y="536564"/>
                  <a:pt x="677094" y="529426"/>
                  <a:pt x="678523" y="523715"/>
                </a:cubicBezTo>
                <a:cubicBezTo>
                  <a:pt x="678523" y="523715"/>
                  <a:pt x="678523" y="523715"/>
                  <a:pt x="582775" y="477316"/>
                </a:cubicBezTo>
                <a:cubicBezTo>
                  <a:pt x="578488" y="475174"/>
                  <a:pt x="574200" y="473033"/>
                  <a:pt x="569913" y="470891"/>
                </a:cubicBezTo>
                <a:cubicBezTo>
                  <a:pt x="577059" y="460183"/>
                  <a:pt x="585633" y="450903"/>
                  <a:pt x="594208" y="441623"/>
                </a:cubicBezTo>
                <a:cubicBezTo>
                  <a:pt x="594208" y="441623"/>
                  <a:pt x="594208" y="441623"/>
                  <a:pt x="694957" y="490165"/>
                </a:cubicBezTo>
                <a:cubicBezTo>
                  <a:pt x="700674" y="483026"/>
                  <a:pt x="707819" y="476602"/>
                  <a:pt x="715679" y="470891"/>
                </a:cubicBezTo>
                <a:cubicBezTo>
                  <a:pt x="728541" y="462325"/>
                  <a:pt x="744975" y="457328"/>
                  <a:pt x="761409" y="457328"/>
                </a:cubicBezTo>
                <a:cubicBezTo>
                  <a:pt x="771413" y="457328"/>
                  <a:pt x="781416" y="459470"/>
                  <a:pt x="789991" y="462325"/>
                </a:cubicBezTo>
                <a:cubicBezTo>
                  <a:pt x="799280" y="465894"/>
                  <a:pt x="808569" y="470891"/>
                  <a:pt x="815714" y="476602"/>
                </a:cubicBezTo>
                <a:cubicBezTo>
                  <a:pt x="815714" y="476602"/>
                  <a:pt x="815714" y="476602"/>
                  <a:pt x="831434" y="464466"/>
                </a:cubicBezTo>
                <a:cubicBezTo>
                  <a:pt x="842152" y="455900"/>
                  <a:pt x="860730" y="440910"/>
                  <a:pt x="891455" y="415925"/>
                </a:cubicBezTo>
                <a:close/>
                <a:moveTo>
                  <a:pt x="772661" y="346605"/>
                </a:moveTo>
                <a:cubicBezTo>
                  <a:pt x="723066" y="343930"/>
                  <a:pt x="672758" y="354807"/>
                  <a:pt x="628158" y="379415"/>
                </a:cubicBezTo>
                <a:cubicBezTo>
                  <a:pt x="608178" y="390827"/>
                  <a:pt x="589624" y="404379"/>
                  <a:pt x="571784" y="420783"/>
                </a:cubicBezTo>
                <a:cubicBezTo>
                  <a:pt x="562508" y="430056"/>
                  <a:pt x="554658" y="439328"/>
                  <a:pt x="546809" y="449314"/>
                </a:cubicBezTo>
                <a:cubicBezTo>
                  <a:pt x="538245" y="460012"/>
                  <a:pt x="531109" y="470711"/>
                  <a:pt x="524687" y="482123"/>
                </a:cubicBezTo>
                <a:cubicBezTo>
                  <a:pt x="468313" y="582692"/>
                  <a:pt x="481158" y="712504"/>
                  <a:pt x="564648" y="800235"/>
                </a:cubicBezTo>
                <a:cubicBezTo>
                  <a:pt x="597474" y="833758"/>
                  <a:pt x="636008" y="856582"/>
                  <a:pt x="678110" y="869420"/>
                </a:cubicBezTo>
                <a:cubicBezTo>
                  <a:pt x="729488" y="885825"/>
                  <a:pt x="785862" y="885825"/>
                  <a:pt x="837955" y="869420"/>
                </a:cubicBezTo>
                <a:cubicBezTo>
                  <a:pt x="867212" y="860861"/>
                  <a:pt x="895756" y="845883"/>
                  <a:pt x="921445" y="826625"/>
                </a:cubicBezTo>
                <a:cubicBezTo>
                  <a:pt x="930008" y="820919"/>
                  <a:pt x="937144" y="814500"/>
                  <a:pt x="944280" y="807367"/>
                </a:cubicBezTo>
                <a:cubicBezTo>
                  <a:pt x="952130" y="799521"/>
                  <a:pt x="959979" y="791676"/>
                  <a:pt x="967115" y="783117"/>
                </a:cubicBezTo>
                <a:cubicBezTo>
                  <a:pt x="1047751" y="682548"/>
                  <a:pt x="1046324" y="537044"/>
                  <a:pt x="959979" y="437902"/>
                </a:cubicBezTo>
                <a:cubicBezTo>
                  <a:pt x="957125" y="435048"/>
                  <a:pt x="954270" y="431482"/>
                  <a:pt x="951416" y="427916"/>
                </a:cubicBezTo>
                <a:cubicBezTo>
                  <a:pt x="947135" y="423636"/>
                  <a:pt x="942853" y="419357"/>
                  <a:pt x="937858" y="415791"/>
                </a:cubicBezTo>
                <a:cubicBezTo>
                  <a:pt x="930008" y="408658"/>
                  <a:pt x="921445" y="401526"/>
                  <a:pt x="912882" y="395106"/>
                </a:cubicBezTo>
                <a:cubicBezTo>
                  <a:pt x="871137" y="365506"/>
                  <a:pt x="822256" y="349280"/>
                  <a:pt x="772661" y="346605"/>
                </a:cubicBezTo>
                <a:close/>
                <a:moveTo>
                  <a:pt x="785477" y="308032"/>
                </a:moveTo>
                <a:cubicBezTo>
                  <a:pt x="842147" y="313027"/>
                  <a:pt x="897744" y="333721"/>
                  <a:pt x="945296" y="370115"/>
                </a:cubicBezTo>
                <a:cubicBezTo>
                  <a:pt x="953162" y="376537"/>
                  <a:pt x="961743" y="382959"/>
                  <a:pt x="969609" y="390809"/>
                </a:cubicBezTo>
                <a:cubicBezTo>
                  <a:pt x="973184" y="394377"/>
                  <a:pt x="976759" y="397231"/>
                  <a:pt x="980335" y="400799"/>
                </a:cubicBezTo>
                <a:cubicBezTo>
                  <a:pt x="983910" y="405081"/>
                  <a:pt x="987486" y="409363"/>
                  <a:pt x="991061" y="413644"/>
                </a:cubicBezTo>
                <a:cubicBezTo>
                  <a:pt x="1084021" y="521398"/>
                  <a:pt x="1089026" y="678390"/>
                  <a:pt x="1008223" y="791852"/>
                </a:cubicBezTo>
                <a:cubicBezTo>
                  <a:pt x="1080445" y="866780"/>
                  <a:pt x="1080445" y="866780"/>
                  <a:pt x="1080445" y="866780"/>
                </a:cubicBezTo>
                <a:cubicBezTo>
                  <a:pt x="1081160" y="867493"/>
                  <a:pt x="1081160" y="868207"/>
                  <a:pt x="1081875" y="868921"/>
                </a:cubicBezTo>
                <a:cubicBezTo>
                  <a:pt x="1083306" y="871775"/>
                  <a:pt x="1083306" y="874629"/>
                  <a:pt x="1081875" y="876770"/>
                </a:cubicBezTo>
                <a:cubicBezTo>
                  <a:pt x="1081875" y="876770"/>
                  <a:pt x="1081875" y="876770"/>
                  <a:pt x="1056848" y="900319"/>
                </a:cubicBezTo>
                <a:cubicBezTo>
                  <a:pt x="1056848" y="900319"/>
                  <a:pt x="1056848" y="900319"/>
                  <a:pt x="1055418" y="901746"/>
                </a:cubicBezTo>
                <a:cubicBezTo>
                  <a:pt x="1039686" y="917445"/>
                  <a:pt x="1029675" y="926722"/>
                  <a:pt x="1023954" y="931717"/>
                </a:cubicBezTo>
                <a:cubicBezTo>
                  <a:pt x="1014658" y="940994"/>
                  <a:pt x="1014658" y="940994"/>
                  <a:pt x="1014658" y="940994"/>
                </a:cubicBezTo>
                <a:cubicBezTo>
                  <a:pt x="1011798" y="944562"/>
                  <a:pt x="1006078" y="944562"/>
                  <a:pt x="1003217" y="940994"/>
                </a:cubicBezTo>
                <a:cubicBezTo>
                  <a:pt x="999642" y="938140"/>
                  <a:pt x="996782" y="934572"/>
                  <a:pt x="993921" y="931717"/>
                </a:cubicBezTo>
                <a:cubicBezTo>
                  <a:pt x="981765" y="919586"/>
                  <a:pt x="971754" y="908882"/>
                  <a:pt x="963888" y="900319"/>
                </a:cubicBezTo>
                <a:cubicBezTo>
                  <a:pt x="944581" y="881052"/>
                  <a:pt x="936715" y="872489"/>
                  <a:pt x="933140" y="868921"/>
                </a:cubicBezTo>
                <a:cubicBezTo>
                  <a:pt x="930995" y="866780"/>
                  <a:pt x="930995" y="866780"/>
                  <a:pt x="930995" y="866780"/>
                </a:cubicBezTo>
                <a:cubicBezTo>
                  <a:pt x="929565" y="867493"/>
                  <a:pt x="928134" y="868207"/>
                  <a:pt x="926704" y="868921"/>
                </a:cubicBezTo>
                <a:cubicBezTo>
                  <a:pt x="906682" y="882479"/>
                  <a:pt x="885945" y="892469"/>
                  <a:pt x="864493" y="900319"/>
                </a:cubicBezTo>
                <a:cubicBezTo>
                  <a:pt x="795846" y="926009"/>
                  <a:pt x="720048" y="926009"/>
                  <a:pt x="651400" y="900319"/>
                </a:cubicBezTo>
                <a:cubicBezTo>
                  <a:pt x="629948" y="892469"/>
                  <a:pt x="609211" y="882479"/>
                  <a:pt x="589189" y="868921"/>
                </a:cubicBezTo>
                <a:cubicBezTo>
                  <a:pt x="570597" y="856789"/>
                  <a:pt x="553435" y="842517"/>
                  <a:pt x="536988" y="826105"/>
                </a:cubicBezTo>
                <a:cubicBezTo>
                  <a:pt x="466196" y="751177"/>
                  <a:pt x="439738" y="649846"/>
                  <a:pt x="457615" y="554937"/>
                </a:cubicBezTo>
                <a:cubicBezTo>
                  <a:pt x="462621" y="529961"/>
                  <a:pt x="470486" y="505699"/>
                  <a:pt x="481213" y="482863"/>
                </a:cubicBezTo>
                <a:cubicBezTo>
                  <a:pt x="493369" y="456460"/>
                  <a:pt x="509816" y="430771"/>
                  <a:pt x="530553" y="408649"/>
                </a:cubicBezTo>
                <a:cubicBezTo>
                  <a:pt x="535558" y="402940"/>
                  <a:pt x="540564" y="397945"/>
                  <a:pt x="545569" y="392236"/>
                </a:cubicBezTo>
                <a:cubicBezTo>
                  <a:pt x="560586" y="378678"/>
                  <a:pt x="575602" y="366547"/>
                  <a:pt x="592049" y="355843"/>
                </a:cubicBezTo>
                <a:cubicBezTo>
                  <a:pt x="600630" y="350134"/>
                  <a:pt x="609926" y="345139"/>
                  <a:pt x="619222" y="340143"/>
                </a:cubicBezTo>
                <a:cubicBezTo>
                  <a:pt x="671065" y="313740"/>
                  <a:pt x="728807" y="303036"/>
                  <a:pt x="785477" y="308032"/>
                </a:cubicBezTo>
                <a:close/>
                <a:moveTo>
                  <a:pt x="555676" y="304800"/>
                </a:moveTo>
                <a:cubicBezTo>
                  <a:pt x="570540" y="304800"/>
                  <a:pt x="583988" y="309099"/>
                  <a:pt x="595313" y="316982"/>
                </a:cubicBezTo>
                <a:cubicBezTo>
                  <a:pt x="584696" y="323431"/>
                  <a:pt x="574079" y="329880"/>
                  <a:pt x="563462" y="337046"/>
                </a:cubicBezTo>
                <a:cubicBezTo>
                  <a:pt x="561338" y="336330"/>
                  <a:pt x="558507" y="336330"/>
                  <a:pt x="555676" y="336330"/>
                </a:cubicBezTo>
                <a:cubicBezTo>
                  <a:pt x="533026" y="336330"/>
                  <a:pt x="515331" y="354961"/>
                  <a:pt x="515331" y="377175"/>
                </a:cubicBezTo>
                <a:cubicBezTo>
                  <a:pt x="515331" y="377891"/>
                  <a:pt x="515331" y="378608"/>
                  <a:pt x="515331" y="379325"/>
                </a:cubicBezTo>
                <a:cubicBezTo>
                  <a:pt x="506130" y="388640"/>
                  <a:pt x="498344" y="397956"/>
                  <a:pt x="490558" y="407988"/>
                </a:cubicBezTo>
                <a:cubicBezTo>
                  <a:pt x="486311" y="398672"/>
                  <a:pt x="484188" y="388640"/>
                  <a:pt x="484188" y="377175"/>
                </a:cubicBezTo>
                <a:cubicBezTo>
                  <a:pt x="484188" y="337046"/>
                  <a:pt x="516039" y="304800"/>
                  <a:pt x="555676" y="304800"/>
                </a:cubicBezTo>
                <a:close/>
                <a:moveTo>
                  <a:pt x="1089384" y="233362"/>
                </a:moveTo>
                <a:cubicBezTo>
                  <a:pt x="1066414" y="233362"/>
                  <a:pt x="1047750" y="252026"/>
                  <a:pt x="1047750" y="274996"/>
                </a:cubicBezTo>
                <a:cubicBezTo>
                  <a:pt x="1047750" y="278585"/>
                  <a:pt x="1048468" y="282892"/>
                  <a:pt x="1049186" y="286481"/>
                </a:cubicBezTo>
                <a:cubicBezTo>
                  <a:pt x="1052775" y="296531"/>
                  <a:pt x="1059953" y="305863"/>
                  <a:pt x="1069285" y="310887"/>
                </a:cubicBezTo>
                <a:cubicBezTo>
                  <a:pt x="1075028" y="314476"/>
                  <a:pt x="1082206" y="315912"/>
                  <a:pt x="1089384" y="315912"/>
                </a:cubicBezTo>
                <a:cubicBezTo>
                  <a:pt x="1111637" y="315912"/>
                  <a:pt x="1130300" y="297249"/>
                  <a:pt x="1130300" y="274996"/>
                </a:cubicBezTo>
                <a:cubicBezTo>
                  <a:pt x="1130300" y="271407"/>
                  <a:pt x="1129582" y="267100"/>
                  <a:pt x="1128865" y="264229"/>
                </a:cubicBezTo>
                <a:cubicBezTo>
                  <a:pt x="1125993" y="253461"/>
                  <a:pt x="1118815" y="244130"/>
                  <a:pt x="1109483" y="239105"/>
                </a:cubicBezTo>
                <a:cubicBezTo>
                  <a:pt x="1103741" y="235516"/>
                  <a:pt x="1096562" y="233362"/>
                  <a:pt x="1089384" y="233362"/>
                </a:cubicBezTo>
                <a:close/>
                <a:moveTo>
                  <a:pt x="1243012" y="215900"/>
                </a:moveTo>
                <a:cubicBezTo>
                  <a:pt x="1243012" y="215900"/>
                  <a:pt x="1243012" y="215900"/>
                  <a:pt x="1243012" y="869950"/>
                </a:cubicBezTo>
                <a:cubicBezTo>
                  <a:pt x="1243012" y="869950"/>
                  <a:pt x="1243012" y="869950"/>
                  <a:pt x="1160916" y="869950"/>
                </a:cubicBezTo>
                <a:cubicBezTo>
                  <a:pt x="1160916" y="869950"/>
                  <a:pt x="1160916" y="869950"/>
                  <a:pt x="1158775" y="867808"/>
                </a:cubicBezTo>
                <a:cubicBezTo>
                  <a:pt x="1151636" y="860668"/>
                  <a:pt x="1141642" y="855670"/>
                  <a:pt x="1130934" y="854242"/>
                </a:cubicBezTo>
                <a:cubicBezTo>
                  <a:pt x="1130934" y="854242"/>
                  <a:pt x="1130934" y="854242"/>
                  <a:pt x="1128078" y="853528"/>
                </a:cubicBezTo>
                <a:cubicBezTo>
                  <a:pt x="1128078" y="853528"/>
                  <a:pt x="1128078" y="853528"/>
                  <a:pt x="1125936" y="853528"/>
                </a:cubicBezTo>
                <a:cubicBezTo>
                  <a:pt x="1120225" y="853528"/>
                  <a:pt x="1115228" y="854242"/>
                  <a:pt x="1110231" y="856384"/>
                </a:cubicBezTo>
                <a:cubicBezTo>
                  <a:pt x="1108089" y="852813"/>
                  <a:pt x="1105234" y="849243"/>
                  <a:pt x="1102378" y="845673"/>
                </a:cubicBezTo>
                <a:cubicBezTo>
                  <a:pt x="1102378" y="845673"/>
                  <a:pt x="1102378" y="845673"/>
                  <a:pt x="1048124" y="789265"/>
                </a:cubicBezTo>
                <a:cubicBezTo>
                  <a:pt x="1123081" y="664310"/>
                  <a:pt x="1110231" y="505081"/>
                  <a:pt x="1015999" y="394407"/>
                </a:cubicBezTo>
                <a:cubicBezTo>
                  <a:pt x="1015999" y="394407"/>
                  <a:pt x="1015999" y="394407"/>
                  <a:pt x="1047410" y="369416"/>
                </a:cubicBezTo>
                <a:cubicBezTo>
                  <a:pt x="1060260" y="375842"/>
                  <a:pt x="1075251" y="378698"/>
                  <a:pt x="1090242" y="378698"/>
                </a:cubicBezTo>
                <a:cubicBezTo>
                  <a:pt x="1147353" y="378698"/>
                  <a:pt x="1193755" y="332286"/>
                  <a:pt x="1193755" y="275164"/>
                </a:cubicBezTo>
                <a:cubicBezTo>
                  <a:pt x="1193755" y="268738"/>
                  <a:pt x="1193041" y="261598"/>
                  <a:pt x="1191613" y="255885"/>
                </a:cubicBezTo>
                <a:close/>
                <a:moveTo>
                  <a:pt x="15705" y="0"/>
                </a:moveTo>
                <a:cubicBezTo>
                  <a:pt x="15705" y="0"/>
                  <a:pt x="15705" y="0"/>
                  <a:pt x="1289220" y="0"/>
                </a:cubicBezTo>
                <a:cubicBezTo>
                  <a:pt x="1297787" y="0"/>
                  <a:pt x="1304925" y="6422"/>
                  <a:pt x="1304925" y="15698"/>
                </a:cubicBezTo>
                <a:cubicBezTo>
                  <a:pt x="1304925" y="15698"/>
                  <a:pt x="1304925" y="15698"/>
                  <a:pt x="1304925" y="916166"/>
                </a:cubicBezTo>
                <a:cubicBezTo>
                  <a:pt x="1304925" y="925441"/>
                  <a:pt x="1297787" y="931863"/>
                  <a:pt x="1289220" y="931863"/>
                </a:cubicBezTo>
                <a:cubicBezTo>
                  <a:pt x="1289220" y="931863"/>
                  <a:pt x="1289220" y="931863"/>
                  <a:pt x="1219977" y="931863"/>
                </a:cubicBezTo>
                <a:cubicBezTo>
                  <a:pt x="1219977" y="931863"/>
                  <a:pt x="1219977" y="931863"/>
                  <a:pt x="1189995" y="900468"/>
                </a:cubicBezTo>
                <a:cubicBezTo>
                  <a:pt x="1273516" y="900468"/>
                  <a:pt x="1273516" y="900468"/>
                  <a:pt x="1273516" y="900468"/>
                </a:cubicBezTo>
                <a:cubicBezTo>
                  <a:pt x="1273516" y="480916"/>
                  <a:pt x="1273516" y="264004"/>
                  <a:pt x="1273516" y="151267"/>
                </a:cubicBezTo>
                <a:cubicBezTo>
                  <a:pt x="1273516" y="151267"/>
                  <a:pt x="1273516" y="151267"/>
                  <a:pt x="1242106" y="175527"/>
                </a:cubicBezTo>
                <a:cubicBezTo>
                  <a:pt x="1242106" y="175527"/>
                  <a:pt x="1242106" y="175527"/>
                  <a:pt x="1154302" y="243312"/>
                </a:cubicBezTo>
                <a:cubicBezTo>
                  <a:pt x="1159299" y="253301"/>
                  <a:pt x="1161441" y="263291"/>
                  <a:pt x="1161441" y="274707"/>
                </a:cubicBezTo>
                <a:cubicBezTo>
                  <a:pt x="1161441" y="314664"/>
                  <a:pt x="1129317" y="346773"/>
                  <a:pt x="1089341" y="346773"/>
                </a:cubicBezTo>
                <a:cubicBezTo>
                  <a:pt x="1071495" y="346773"/>
                  <a:pt x="1055790" y="341065"/>
                  <a:pt x="1043655" y="331076"/>
                </a:cubicBezTo>
                <a:cubicBezTo>
                  <a:pt x="1043655" y="331076"/>
                  <a:pt x="1043655" y="331076"/>
                  <a:pt x="993685" y="371033"/>
                </a:cubicBezTo>
                <a:cubicBezTo>
                  <a:pt x="985833" y="363898"/>
                  <a:pt x="977980" y="356762"/>
                  <a:pt x="969414" y="349627"/>
                </a:cubicBezTo>
                <a:cubicBezTo>
                  <a:pt x="969414" y="349627"/>
                  <a:pt x="969414" y="349627"/>
                  <a:pt x="1024381" y="306102"/>
                </a:cubicBezTo>
                <a:cubicBezTo>
                  <a:pt x="1019384" y="296826"/>
                  <a:pt x="1016528" y="286123"/>
                  <a:pt x="1016528" y="274707"/>
                </a:cubicBezTo>
                <a:cubicBezTo>
                  <a:pt x="1016528" y="234750"/>
                  <a:pt x="1049365" y="201928"/>
                  <a:pt x="1089341" y="201928"/>
                </a:cubicBezTo>
                <a:cubicBezTo>
                  <a:pt x="1106474" y="201928"/>
                  <a:pt x="1122892" y="208349"/>
                  <a:pt x="1135028" y="219052"/>
                </a:cubicBezTo>
                <a:cubicBezTo>
                  <a:pt x="1135028" y="219052"/>
                  <a:pt x="1135028" y="219052"/>
                  <a:pt x="1242106" y="136283"/>
                </a:cubicBezTo>
                <a:cubicBezTo>
                  <a:pt x="1242106" y="136283"/>
                  <a:pt x="1242106" y="136283"/>
                  <a:pt x="1269946" y="114878"/>
                </a:cubicBezTo>
                <a:cubicBezTo>
                  <a:pt x="1270660" y="114164"/>
                  <a:pt x="1272088" y="113451"/>
                  <a:pt x="1273516" y="112737"/>
                </a:cubicBezTo>
                <a:cubicBezTo>
                  <a:pt x="1273516" y="31395"/>
                  <a:pt x="1273516" y="31395"/>
                  <a:pt x="1273516" y="31395"/>
                </a:cubicBezTo>
                <a:cubicBezTo>
                  <a:pt x="31410" y="31395"/>
                  <a:pt x="31410" y="31395"/>
                  <a:pt x="31410" y="31395"/>
                </a:cubicBezTo>
                <a:cubicBezTo>
                  <a:pt x="31410" y="406709"/>
                  <a:pt x="31410" y="620766"/>
                  <a:pt x="31410" y="741352"/>
                </a:cubicBezTo>
                <a:cubicBezTo>
                  <a:pt x="31410" y="741352"/>
                  <a:pt x="31410" y="741352"/>
                  <a:pt x="62819" y="726368"/>
                </a:cubicBezTo>
                <a:cubicBezTo>
                  <a:pt x="62819" y="726368"/>
                  <a:pt x="62819" y="726368"/>
                  <a:pt x="276976" y="623621"/>
                </a:cubicBezTo>
                <a:cubicBezTo>
                  <a:pt x="275548" y="617912"/>
                  <a:pt x="274834" y="612918"/>
                  <a:pt x="274834" y="607210"/>
                </a:cubicBezTo>
                <a:cubicBezTo>
                  <a:pt x="274834" y="567252"/>
                  <a:pt x="306957" y="534430"/>
                  <a:pt x="346933" y="534430"/>
                </a:cubicBezTo>
                <a:cubicBezTo>
                  <a:pt x="360496" y="534430"/>
                  <a:pt x="372632" y="537998"/>
                  <a:pt x="383340" y="543706"/>
                </a:cubicBezTo>
                <a:cubicBezTo>
                  <a:pt x="383340" y="543706"/>
                  <a:pt x="383340" y="543706"/>
                  <a:pt x="454725" y="465218"/>
                </a:cubicBezTo>
                <a:cubicBezTo>
                  <a:pt x="443304" y="489478"/>
                  <a:pt x="434737" y="514451"/>
                  <a:pt x="429026" y="540138"/>
                </a:cubicBezTo>
                <a:cubicBezTo>
                  <a:pt x="429026" y="540138"/>
                  <a:pt x="429026" y="540138"/>
                  <a:pt x="406183" y="565112"/>
                </a:cubicBezTo>
                <a:cubicBezTo>
                  <a:pt x="414749" y="577241"/>
                  <a:pt x="419746" y="591512"/>
                  <a:pt x="419746" y="607210"/>
                </a:cubicBezTo>
                <a:cubicBezTo>
                  <a:pt x="419746" y="647167"/>
                  <a:pt x="386909" y="679275"/>
                  <a:pt x="346933" y="679275"/>
                </a:cubicBezTo>
                <a:cubicBezTo>
                  <a:pt x="324090" y="679275"/>
                  <a:pt x="303388" y="668573"/>
                  <a:pt x="290539" y="651448"/>
                </a:cubicBezTo>
                <a:cubicBezTo>
                  <a:pt x="290539" y="651448"/>
                  <a:pt x="290539" y="651448"/>
                  <a:pt x="62819" y="761331"/>
                </a:cubicBezTo>
                <a:cubicBezTo>
                  <a:pt x="62819" y="761331"/>
                  <a:pt x="62819" y="761331"/>
                  <a:pt x="31410" y="776315"/>
                </a:cubicBezTo>
                <a:cubicBezTo>
                  <a:pt x="31410" y="900468"/>
                  <a:pt x="31410" y="900468"/>
                  <a:pt x="31410" y="900468"/>
                </a:cubicBezTo>
                <a:cubicBezTo>
                  <a:pt x="250563" y="900468"/>
                  <a:pt x="431168" y="900468"/>
                  <a:pt x="579650" y="900468"/>
                </a:cubicBezTo>
                <a:cubicBezTo>
                  <a:pt x="600351" y="913312"/>
                  <a:pt x="622481" y="924014"/>
                  <a:pt x="645324" y="931863"/>
                </a:cubicBezTo>
                <a:cubicBezTo>
                  <a:pt x="645324" y="931863"/>
                  <a:pt x="645324" y="931863"/>
                  <a:pt x="15705" y="931863"/>
                </a:cubicBezTo>
                <a:cubicBezTo>
                  <a:pt x="7139" y="931863"/>
                  <a:pt x="0" y="925441"/>
                  <a:pt x="0" y="916166"/>
                </a:cubicBezTo>
                <a:cubicBezTo>
                  <a:pt x="0" y="916166"/>
                  <a:pt x="0" y="916166"/>
                  <a:pt x="0" y="15698"/>
                </a:cubicBezTo>
                <a:cubicBezTo>
                  <a:pt x="0" y="6422"/>
                  <a:pt x="7139" y="0"/>
                  <a:pt x="1570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4422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20642" y="3391276"/>
            <a:ext cx="1810382" cy="12783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Facial Recognition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Vehicle Plate Recognition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32401" y="3391276"/>
            <a:ext cx="1912454" cy="19708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eople Counting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Entry/Exit Counts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Overcrowding on working area</a:t>
            </a: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  <a:p>
            <a:pPr marL="39375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10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659887" y="2756207"/>
            <a:ext cx="1998261" cy="3458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RACKING &amp; PATH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438329" y="2850086"/>
            <a:ext cx="1810382" cy="4249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COGNI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430461" y="2850086"/>
            <a:ext cx="1454946" cy="4249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-349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TEC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954378" y="2771025"/>
            <a:ext cx="1810382" cy="5040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4422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2301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ROWD MANAGEMEN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536047" y="3391276"/>
            <a:ext cx="186166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rosswalk Usage Monitor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ail usage on stairs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low Control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ath Analysis</a:t>
            </a:r>
          </a:p>
          <a:p>
            <a:pPr marL="28575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ehicle/machine movement</a:t>
            </a:r>
          </a:p>
        </p:txBody>
      </p:sp>
      <p:pic>
        <p:nvPicPr>
          <p:cNvPr id="211972" name="Picture 4" descr="https://encrypted-tbn0.gstatic.com/images?q=tbn:ANd9GcRY00W9YqB7huuBCBqzWIQxkd0FpradCCfVdqe6sQZjCTRIm3R-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476" y="1658730"/>
            <a:ext cx="1622955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974" name="Picture 6" descr="https://www.researchgate.net/profile/Kedar_Potdar/publication/329217107/figure/fig4/AS:697578261852162@1543327026650/Object-detection-in-a-dense-scene.ppm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9504" y="1658730"/>
            <a:ext cx="1639283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" descr="https://v-count.com/wp-content/uploads/2018/03/Heatmap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6329" y="1658730"/>
            <a:ext cx="18846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976" name="Picture 8" descr="https://i.ytimg.com/vi/gQe9ObI4jv0/maxresdefault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77709" y="1658730"/>
            <a:ext cx="1919998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3248941" y="1547055"/>
            <a:ext cx="0" cy="4572000"/>
          </a:xfrm>
          <a:prstGeom prst="line">
            <a:avLst/>
          </a:prstGeom>
          <a:ln w="19050">
            <a:solidFill>
              <a:srgbClr val="9A9A9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5565280" y="1578256"/>
            <a:ext cx="0" cy="4572000"/>
          </a:xfrm>
          <a:prstGeom prst="line">
            <a:avLst/>
          </a:prstGeom>
          <a:ln w="19050">
            <a:solidFill>
              <a:srgbClr val="9A9A9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8130195" y="1582609"/>
            <a:ext cx="0" cy="4572000"/>
          </a:xfrm>
          <a:prstGeom prst="line">
            <a:avLst/>
          </a:prstGeom>
          <a:ln w="19050">
            <a:solidFill>
              <a:srgbClr val="9A9A9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924888" y="3354086"/>
            <a:ext cx="2099352" cy="315617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rotective Equipment Usage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erimeter Monitoring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Intrusion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Fallen Person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Loitering Detection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Abandoned Object</a:t>
            </a:r>
          </a:p>
          <a:p>
            <a:pPr marL="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D4422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Anomaly Detection (Fire &amp; Smoke)</a:t>
            </a:r>
          </a:p>
        </p:txBody>
      </p:sp>
      <p:sp>
        <p:nvSpPr>
          <p:cNvPr id="21" name="IllustrativeStamp"/>
          <p:cNvSpPr/>
          <p:nvPr/>
        </p:nvSpPr>
        <p:spPr>
          <a:xfrm>
            <a:off x="10338054" y="1351953"/>
            <a:ext cx="1225296" cy="1917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Not Exhaustive</a:t>
            </a:r>
          </a:p>
        </p:txBody>
      </p:sp>
      <p:sp>
        <p:nvSpPr>
          <p:cNvPr id="2" name="5-Point Star 1"/>
          <p:cNvSpPr/>
          <p:nvPr/>
        </p:nvSpPr>
        <p:spPr>
          <a:xfrm>
            <a:off x="957941" y="3391276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3" name="5-Point Star 22"/>
          <p:cNvSpPr/>
          <p:nvPr/>
        </p:nvSpPr>
        <p:spPr>
          <a:xfrm>
            <a:off x="8651178" y="3454831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4" name="5-Point Star 23"/>
          <p:cNvSpPr/>
          <p:nvPr/>
        </p:nvSpPr>
        <p:spPr>
          <a:xfrm>
            <a:off x="8646728" y="3951211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5" name="5-Point Star 24"/>
          <p:cNvSpPr/>
          <p:nvPr/>
        </p:nvSpPr>
        <p:spPr>
          <a:xfrm>
            <a:off x="8652254" y="4969728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5-Point Star 25"/>
          <p:cNvSpPr/>
          <p:nvPr/>
        </p:nvSpPr>
        <p:spPr>
          <a:xfrm>
            <a:off x="3625444" y="3454830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" name="5-Point Star 26"/>
          <p:cNvSpPr/>
          <p:nvPr/>
        </p:nvSpPr>
        <p:spPr>
          <a:xfrm>
            <a:off x="957941" y="6510256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ee4pContent2"/>
          <p:cNvSpPr txBox="1"/>
          <p:nvPr/>
        </p:nvSpPr>
        <p:spPr>
          <a:xfrm>
            <a:off x="1207881" y="6520402"/>
            <a:ext cx="2716419" cy="169277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lemented with customer project/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575757">
                    <a:lumMod val="60000"/>
                    <a:lumOff val="4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oc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rgbClr val="575757">
                  <a:lumMod val="60000"/>
                  <a:lumOff val="4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NavigationText"/>
          <p:cNvSpPr/>
          <p:nvPr/>
        </p:nvSpPr>
        <p:spPr>
          <a:xfrm>
            <a:off x="9817223" y="301446"/>
            <a:ext cx="1565899" cy="3213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ur Intelligent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Video Analytics Offering</a:t>
            </a:r>
          </a:p>
        </p:txBody>
      </p:sp>
      <p:sp>
        <p:nvSpPr>
          <p:cNvPr id="30" name="5-Point Star 29"/>
          <p:cNvSpPr/>
          <p:nvPr/>
        </p:nvSpPr>
        <p:spPr>
          <a:xfrm>
            <a:off x="949859" y="4236405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1" name="5-Point Star 30"/>
          <p:cNvSpPr/>
          <p:nvPr/>
        </p:nvSpPr>
        <p:spPr>
          <a:xfrm>
            <a:off x="6047188" y="3454830"/>
            <a:ext cx="161947" cy="161947"/>
          </a:xfrm>
          <a:prstGeom prst="star5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165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6673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What</a:t>
            </a:r>
            <a:r>
              <a:rPr lang="tr-TR" dirty="0" smtClean="0"/>
              <a:t> is </a:t>
            </a:r>
            <a:r>
              <a:rPr lang="tr-TR" dirty="0" err="1" smtClean="0"/>
              <a:t>Deep</a:t>
            </a:r>
            <a:r>
              <a:rPr lang="tr-TR" dirty="0" smtClean="0"/>
              <a:t> Learning?</a:t>
            </a:r>
            <a:endParaRPr lang="tr-TR" dirty="0"/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6" t="3439" r="502" b="6836"/>
          <a:stretch/>
        </p:blipFill>
        <p:spPr>
          <a:xfrm>
            <a:off x="992458" y="2542478"/>
            <a:ext cx="3824868" cy="2642839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070"/>
          <a:stretch/>
        </p:blipFill>
        <p:spPr>
          <a:xfrm>
            <a:off x="6388100" y="1093699"/>
            <a:ext cx="3211554" cy="1770314"/>
          </a:xfrm>
          <a:prstGeom prst="rect">
            <a:avLst/>
          </a:prstGeom>
        </p:spPr>
      </p:pic>
      <p:cxnSp>
        <p:nvCxnSpPr>
          <p:cNvPr id="7" name="Düz Ok Bağlayıcısı 6"/>
          <p:cNvCxnSpPr>
            <a:endCxn id="5" idx="1"/>
          </p:cNvCxnSpPr>
          <p:nvPr/>
        </p:nvCxnSpPr>
        <p:spPr>
          <a:xfrm flipV="1">
            <a:off x="4204010" y="1978856"/>
            <a:ext cx="2184090" cy="1611838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etin kutusu 7"/>
          <p:cNvSpPr txBox="1"/>
          <p:nvPr/>
        </p:nvSpPr>
        <p:spPr>
          <a:xfrm rot="19439564">
            <a:off x="4838855" y="208527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smtClean="0">
                <a:solidFill>
                  <a:srgbClr val="575757"/>
                </a:solidFill>
              </a:rPr>
              <a:t>Machine Learning</a:t>
            </a:r>
          </a:p>
        </p:txBody>
      </p:sp>
      <p:pic>
        <p:nvPicPr>
          <p:cNvPr id="9" name="Resim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585" y="3502906"/>
            <a:ext cx="4661209" cy="2750364"/>
          </a:xfrm>
          <a:prstGeom prst="rect">
            <a:avLst/>
          </a:prstGeom>
        </p:spPr>
      </p:pic>
      <p:cxnSp>
        <p:nvCxnSpPr>
          <p:cNvPr id="11" name="Düz Ok Bağlayıcısı 10"/>
          <p:cNvCxnSpPr>
            <a:endCxn id="9" idx="1"/>
          </p:cNvCxnSpPr>
          <p:nvPr/>
        </p:nvCxnSpPr>
        <p:spPr>
          <a:xfrm>
            <a:off x="4070195" y="4475851"/>
            <a:ext cx="2443390" cy="402237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etin kutusu 13"/>
          <p:cNvSpPr txBox="1"/>
          <p:nvPr/>
        </p:nvSpPr>
        <p:spPr>
          <a:xfrm rot="581235">
            <a:off x="5022008" y="4070454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dirty="0" err="1" smtClean="0">
                <a:solidFill>
                  <a:srgbClr val="575757"/>
                </a:solidFill>
              </a:rPr>
              <a:t>Deep</a:t>
            </a:r>
            <a:r>
              <a:rPr lang="tr-TR" dirty="0" smtClean="0">
                <a:solidFill>
                  <a:srgbClr val="575757"/>
                </a:solidFill>
              </a:rPr>
              <a:t> Learning</a:t>
            </a:r>
          </a:p>
        </p:txBody>
      </p:sp>
    </p:spTree>
    <p:extLst>
      <p:ext uri="{BB962C8B-B14F-4D97-AF65-F5344CB8AC3E}">
        <p14:creationId xmlns:p14="http://schemas.microsoft.com/office/powerpoint/2010/main" val="1571039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How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train</a:t>
            </a:r>
            <a:r>
              <a:rPr lang="tr-TR" dirty="0" smtClean="0"/>
              <a:t> </a:t>
            </a:r>
            <a:r>
              <a:rPr lang="tr-TR" dirty="0" err="1" smtClean="0"/>
              <a:t>your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Learning Model?</a:t>
            </a:r>
            <a:endParaRPr lang="tr-TR" dirty="0"/>
          </a:p>
        </p:txBody>
      </p:sp>
      <p:sp>
        <p:nvSpPr>
          <p:cNvPr id="3" name="Metin kutusu 2"/>
          <p:cNvSpPr txBox="1"/>
          <p:nvPr/>
        </p:nvSpPr>
        <p:spPr>
          <a:xfrm>
            <a:off x="630000" y="1395580"/>
            <a:ext cx="5475249" cy="4795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 smtClean="0">
                <a:solidFill>
                  <a:srgbClr val="575757"/>
                </a:solidFill>
              </a:rPr>
              <a:t>Step 1 </a:t>
            </a:r>
            <a:r>
              <a:rPr lang="mr-IN" dirty="0" smtClean="0">
                <a:solidFill>
                  <a:srgbClr val="575757"/>
                </a:solidFill>
              </a:rPr>
              <a:t>–</a:t>
            </a:r>
            <a:r>
              <a:rPr lang="tr-TR" dirty="0" smtClean="0">
                <a:solidFill>
                  <a:srgbClr val="575757"/>
                </a:solidFill>
              </a:rPr>
              <a:t> Model is </a:t>
            </a:r>
            <a:r>
              <a:rPr lang="tr-TR" dirty="0" err="1" smtClean="0">
                <a:solidFill>
                  <a:srgbClr val="575757"/>
                </a:solidFill>
              </a:rPr>
              <a:t>parameterized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by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its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weights</a:t>
            </a:r>
            <a:endParaRPr lang="tr-TR" dirty="0" smtClean="0">
              <a:solidFill>
                <a:srgbClr val="575757"/>
              </a:solidFill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005" y="2176965"/>
            <a:ext cx="6400800" cy="370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0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How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train</a:t>
            </a:r>
            <a:r>
              <a:rPr lang="tr-TR" dirty="0" smtClean="0"/>
              <a:t> </a:t>
            </a:r>
            <a:r>
              <a:rPr lang="tr-TR" dirty="0" err="1" smtClean="0"/>
              <a:t>your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Learning Model?</a:t>
            </a:r>
            <a:endParaRPr lang="tr-TR" dirty="0"/>
          </a:p>
        </p:txBody>
      </p:sp>
      <p:sp>
        <p:nvSpPr>
          <p:cNvPr id="5" name="Metin kutusu 4"/>
          <p:cNvSpPr txBox="1"/>
          <p:nvPr/>
        </p:nvSpPr>
        <p:spPr>
          <a:xfrm>
            <a:off x="630000" y="1395580"/>
            <a:ext cx="5475249" cy="4795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 smtClean="0">
                <a:solidFill>
                  <a:srgbClr val="575757"/>
                </a:solidFill>
              </a:rPr>
              <a:t>Step 2 </a:t>
            </a:r>
            <a:r>
              <a:rPr lang="mr-IN" dirty="0" smtClean="0">
                <a:solidFill>
                  <a:srgbClr val="575757"/>
                </a:solidFill>
              </a:rPr>
              <a:t>–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Loss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Function</a:t>
            </a:r>
            <a:r>
              <a:rPr lang="tr-TR" dirty="0" smtClean="0">
                <a:solidFill>
                  <a:srgbClr val="575757"/>
                </a:solidFill>
              </a:rPr>
              <a:t> / </a:t>
            </a:r>
            <a:r>
              <a:rPr lang="tr-TR" dirty="0" err="1" smtClean="0">
                <a:solidFill>
                  <a:srgbClr val="575757"/>
                </a:solidFill>
              </a:rPr>
              <a:t>Objective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Function</a:t>
            </a:r>
            <a:endParaRPr lang="tr-TR" dirty="0" smtClean="0">
              <a:solidFill>
                <a:srgbClr val="575757"/>
              </a:solidFill>
            </a:endParaRPr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341" y="2176965"/>
            <a:ext cx="4356389" cy="379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How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 smtClean="0"/>
              <a:t>train</a:t>
            </a:r>
            <a:r>
              <a:rPr lang="tr-TR" dirty="0" smtClean="0"/>
              <a:t> </a:t>
            </a:r>
            <a:r>
              <a:rPr lang="tr-TR" dirty="0" err="1" smtClean="0"/>
              <a:t>your</a:t>
            </a:r>
            <a:r>
              <a:rPr lang="tr-TR" dirty="0" smtClean="0"/>
              <a:t> </a:t>
            </a:r>
            <a:r>
              <a:rPr lang="tr-TR" dirty="0" err="1" smtClean="0"/>
              <a:t>Deep</a:t>
            </a:r>
            <a:r>
              <a:rPr lang="tr-TR" dirty="0" smtClean="0"/>
              <a:t> Learning Model?</a:t>
            </a:r>
            <a:endParaRPr lang="tr-TR" dirty="0"/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048" y="2176965"/>
            <a:ext cx="4356410" cy="3883480"/>
          </a:xfrm>
          <a:prstGeom prst="rect">
            <a:avLst/>
          </a:prstGeom>
        </p:spPr>
      </p:pic>
      <p:sp>
        <p:nvSpPr>
          <p:cNvPr id="7" name="Metin kutusu 6"/>
          <p:cNvSpPr txBox="1"/>
          <p:nvPr/>
        </p:nvSpPr>
        <p:spPr>
          <a:xfrm>
            <a:off x="630000" y="1395580"/>
            <a:ext cx="5475249" cy="4795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dirty="0" smtClean="0">
                <a:solidFill>
                  <a:srgbClr val="575757"/>
                </a:solidFill>
              </a:rPr>
              <a:t>Step 3 </a:t>
            </a:r>
            <a:r>
              <a:rPr lang="mr-IN" dirty="0" smtClean="0">
                <a:solidFill>
                  <a:srgbClr val="575757"/>
                </a:solidFill>
              </a:rPr>
              <a:t>–</a:t>
            </a:r>
            <a:r>
              <a:rPr lang="tr-TR" dirty="0" smtClean="0">
                <a:solidFill>
                  <a:srgbClr val="575757"/>
                </a:solidFill>
              </a:rPr>
              <a:t> </a:t>
            </a:r>
            <a:r>
              <a:rPr lang="tr-TR" dirty="0" err="1" smtClean="0">
                <a:solidFill>
                  <a:srgbClr val="575757"/>
                </a:solidFill>
              </a:rPr>
              <a:t>Backpropogation</a:t>
            </a:r>
            <a:endParaRPr lang="tr-TR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53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Training, </a:t>
            </a:r>
            <a:r>
              <a:rPr lang="tr-TR" dirty="0" err="1" smtClean="0"/>
              <a:t>Testing</a:t>
            </a:r>
            <a:r>
              <a:rPr lang="tr-TR" dirty="0" smtClean="0"/>
              <a:t>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Validating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84" y="1591518"/>
            <a:ext cx="10278782" cy="391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22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Cross-</a:t>
            </a:r>
            <a:r>
              <a:rPr lang="tr-TR" dirty="0" err="1" smtClean="0"/>
              <a:t>Validation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727746"/>
            <a:ext cx="6789372" cy="3530760"/>
          </a:xfrm>
          <a:prstGeom prst="rect">
            <a:avLst/>
          </a:prstGeom>
        </p:spPr>
      </p:pic>
      <p:pic>
        <p:nvPicPr>
          <p:cNvPr id="4" name="Resi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7344" y="1093698"/>
            <a:ext cx="3683603" cy="5075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15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Blank green"/>
  <p:tag name="EE4P_LAYOUT_ID" val="K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Koç Holding Grid 16:9">
  <a:themeElements>
    <a:clrScheme name="XXX">
      <a:dk1>
        <a:srgbClr val="575757"/>
      </a:dk1>
      <a:lt1>
        <a:sysClr val="window" lastClr="FFFFFF"/>
      </a:lt1>
      <a:dk2>
        <a:srgbClr val="ED4422"/>
      </a:dk2>
      <a:lt2>
        <a:srgbClr val="F2F2F2"/>
      </a:lt2>
      <a:accent1>
        <a:srgbClr val="A7270D"/>
      </a:accent1>
      <a:accent2>
        <a:srgbClr val="D23010"/>
      </a:accent2>
      <a:accent3>
        <a:srgbClr val="D4DF33"/>
      </a:accent3>
      <a:accent4>
        <a:srgbClr val="F6A392"/>
      </a:accent4>
      <a:accent5>
        <a:srgbClr val="6E6F73"/>
      </a:accent5>
      <a:accent6>
        <a:srgbClr val="424D59"/>
      </a:accent6>
      <a:hlink>
        <a:srgbClr val="868686"/>
      </a:hlink>
      <a:folHlink>
        <a:srgbClr val="5D5355"/>
      </a:folHlink>
    </a:clrScheme>
    <a:fontScheme name="Custom 1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6E6F73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Presentation2" id="{196AB875-215B-48C4-BEC5-32D81D94AB73}" vid="{E80ACAF2-F6B7-4971-BEB8-A8E76EF761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402</TotalTime>
  <Words>1237</Words>
  <Application>Microsoft Office PowerPoint</Application>
  <PresentationFormat>Widescreen</PresentationFormat>
  <Paragraphs>312</Paragraphs>
  <Slides>3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rial</vt:lpstr>
      <vt:lpstr>Calibri</vt:lpstr>
      <vt:lpstr>Segoe UI</vt:lpstr>
      <vt:lpstr>Trebuchet MS</vt:lpstr>
      <vt:lpstr>1_Koç Holding Grid 16:9</vt:lpstr>
      <vt:lpstr>think-cell Slide</vt:lpstr>
      <vt:lpstr>KoçDigital CV Use Cases</vt:lpstr>
      <vt:lpstr>Mustafa Kara</vt:lpstr>
      <vt:lpstr>Acar Erdinç</vt:lpstr>
      <vt:lpstr>What is Deep Learning?</vt:lpstr>
      <vt:lpstr>How to train your Deep Learning Model?</vt:lpstr>
      <vt:lpstr>How to train your Deep Learning Model?</vt:lpstr>
      <vt:lpstr>How to train your Deep Learning Model?</vt:lpstr>
      <vt:lpstr>Training, Testing and Validating</vt:lpstr>
      <vt:lpstr>Cross-Validation</vt:lpstr>
      <vt:lpstr>Bias-Variance Tradeoff</vt:lpstr>
      <vt:lpstr>Bias-Variance Tradeoff</vt:lpstr>
      <vt:lpstr>Bias-Variance Tradeoff</vt:lpstr>
      <vt:lpstr>Overfitting</vt:lpstr>
      <vt:lpstr>Underfitting</vt:lpstr>
      <vt:lpstr>Overfitting vs. Underfitting</vt:lpstr>
      <vt:lpstr>Regularization</vt:lpstr>
      <vt:lpstr>Regularization</vt:lpstr>
      <vt:lpstr>Neural Network in a nutshell</vt:lpstr>
      <vt:lpstr>Gradient Descent</vt:lpstr>
      <vt:lpstr>Error/Loss Function</vt:lpstr>
      <vt:lpstr>Backpropogation</vt:lpstr>
      <vt:lpstr>Backpropogation</vt:lpstr>
      <vt:lpstr>What is Computer Vision?</vt:lpstr>
      <vt:lpstr>Computer Vision Applications</vt:lpstr>
      <vt:lpstr>Computer Vision Trends</vt:lpstr>
      <vt:lpstr>Intelligent Video Analytics is…</vt:lpstr>
      <vt:lpstr>Video Analytics Vertical Solutions</vt:lpstr>
      <vt:lpstr>Video Analytics Solution Family</vt:lpstr>
      <vt:lpstr>Health and safety solution for an FMCG company factory</vt:lpstr>
      <vt:lpstr>Retail solution for a stores and malls</vt:lpstr>
      <vt:lpstr>Retail solution for a stores and malls</vt:lpstr>
      <vt:lpstr>Retail solution for a stores and malls</vt:lpstr>
      <vt:lpstr>Health and safety solution for an steel manufacturer company factory</vt:lpstr>
      <vt:lpstr>Texture classification for wooden panel industry company</vt:lpstr>
      <vt:lpstr>Detection of damage severity on cars for a car retail company</vt:lpstr>
      <vt:lpstr>Health and safety solution for an steel manufacturer company factory</vt:lpstr>
      <vt:lpstr>KoçDigital Intelligent Video Analytics Software offers various solutions for safety and security problem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and safety solution for an FMCG company factory (I/II)</dc:title>
  <dc:creator>Gülcan Gökçeoğlu</dc:creator>
  <cp:keywords>GENEL</cp:keywords>
  <cp:lastModifiedBy>Acar Erdinç</cp:lastModifiedBy>
  <cp:revision>229</cp:revision>
  <dcterms:created xsi:type="dcterms:W3CDTF">2020-02-14T05:41:51Z</dcterms:created>
  <dcterms:modified xsi:type="dcterms:W3CDTF">2020-05-15T09:4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75483998-15b5-4dde-8636-adca6e57e842</vt:lpwstr>
  </property>
  <property fmtid="{D5CDD505-2E9C-101B-9397-08002B2CF9AE}" pid="3" name="MSIP_Label_9d2a606a-32e8-4525-b201-a4312de7ecf8_Enabled">
    <vt:lpwstr>True</vt:lpwstr>
  </property>
  <property fmtid="{D5CDD505-2E9C-101B-9397-08002B2CF9AE}" pid="4" name="MSIP_Label_9d2a606a-32e8-4525-b201-a4312de7ecf8_SiteId">
    <vt:lpwstr>1e1aa76b-4b02-45f4-9417-2e13eb0da973</vt:lpwstr>
  </property>
  <property fmtid="{D5CDD505-2E9C-101B-9397-08002B2CF9AE}" pid="5" name="MSIP_Label_9d2a606a-32e8-4525-b201-a4312de7ecf8_Owner">
    <vt:lpwstr>02484570@ksnet.local</vt:lpwstr>
  </property>
  <property fmtid="{D5CDD505-2E9C-101B-9397-08002B2CF9AE}" pid="6" name="MSIP_Label_9d2a606a-32e8-4525-b201-a4312de7ecf8_SetDate">
    <vt:lpwstr>2020-02-18T09:22:18.9918395Z</vt:lpwstr>
  </property>
  <property fmtid="{D5CDD505-2E9C-101B-9397-08002B2CF9AE}" pid="7" name="MSIP_Label_9d2a606a-32e8-4525-b201-a4312de7ecf8_Name">
    <vt:lpwstr>KOÇSİSTEM İÇİ</vt:lpwstr>
  </property>
  <property fmtid="{D5CDD505-2E9C-101B-9397-08002B2CF9AE}" pid="8" name="MSIP_Label_9d2a606a-32e8-4525-b201-a4312de7ecf8_Application">
    <vt:lpwstr>Microsoft Azure Information Protection</vt:lpwstr>
  </property>
  <property fmtid="{D5CDD505-2E9C-101B-9397-08002B2CF9AE}" pid="9" name="MSIP_Label_9d2a606a-32e8-4525-b201-a4312de7ecf8_ActionId">
    <vt:lpwstr>b7aced18-d8a3-4601-823c-a55153879235</vt:lpwstr>
  </property>
  <property fmtid="{D5CDD505-2E9C-101B-9397-08002B2CF9AE}" pid="10" name="MSIP_Label_9d2a606a-32e8-4525-b201-a4312de7ecf8_Extended_MSFT_Method">
    <vt:lpwstr>Automatic</vt:lpwstr>
  </property>
  <property fmtid="{D5CDD505-2E9C-101B-9397-08002B2CF9AE}" pid="11" name="Sensitivity">
    <vt:lpwstr>KOÇSİSTEM İÇİ</vt:lpwstr>
  </property>
  <property fmtid="{D5CDD505-2E9C-101B-9397-08002B2CF9AE}" pid="12" name="BILGIGIZLILIKSINIFLANDIRMASI">
    <vt:lpwstr>GENEL</vt:lpwstr>
  </property>
  <property fmtid="{D5CDD505-2E9C-101B-9397-08002B2CF9AE}" pid="13" name="ETIKETBASILSINMI">
    <vt:lpwstr>ETIKET BASILMASIN</vt:lpwstr>
  </property>
</Properties>
</file>